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20"/>
  </p:sldMasterIdLst>
  <p:notesMasterIdLst>
    <p:notesMasterId r:id="rId35"/>
  </p:notesMasterIdLst>
  <p:handoutMasterIdLst>
    <p:handoutMasterId r:id="rId36"/>
  </p:handoutMasterIdLst>
  <p:sldIdLst>
    <p:sldId id="930" r:id="rId21"/>
    <p:sldId id="936" r:id="rId22"/>
    <p:sldId id="937" r:id="rId23"/>
    <p:sldId id="938" r:id="rId24"/>
    <p:sldId id="939" r:id="rId25"/>
    <p:sldId id="940" r:id="rId26"/>
    <p:sldId id="935" r:id="rId27"/>
    <p:sldId id="941" r:id="rId28"/>
    <p:sldId id="943" r:id="rId29"/>
    <p:sldId id="942" r:id="rId30"/>
    <p:sldId id="944" r:id="rId31"/>
    <p:sldId id="945" r:id="rId32"/>
    <p:sldId id="947" r:id="rId33"/>
    <p:sldId id="898" r:id="rId34"/>
  </p:sldIdLst>
  <p:sldSz cx="12198350" cy="6858000"/>
  <p:notesSz cx="7099300" cy="10234613"/>
  <p:custDataLst>
    <p:custData r:id="rId18"/>
    <p:tags r:id="rId37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3903">
          <p15:clr>
            <a:srgbClr val="A4A3A4"/>
          </p15:clr>
        </p15:guide>
        <p15:guide id="13" orient="horz" pos="654">
          <p15:clr>
            <a:srgbClr val="A4A3A4"/>
          </p15:clr>
        </p15:guide>
        <p15:guide id="14" orient="horz" pos="2452">
          <p15:clr>
            <a:srgbClr val="A4A3A4"/>
          </p15:clr>
        </p15:guide>
        <p15:guide id="15" orient="horz" pos="2360">
          <p15:clr>
            <a:srgbClr val="A4A3A4"/>
          </p15:clr>
        </p15:guide>
        <p15:guide id="16" orient="horz" pos="90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DFDFC"/>
    <a:srgbClr val="FDFDFD"/>
    <a:srgbClr val="FDFEFD"/>
    <a:srgbClr val="FEFDFD"/>
    <a:srgbClr val="FEFEFD"/>
    <a:srgbClr val="FEFEFE"/>
    <a:srgbClr val="FEFFFE"/>
    <a:srgbClr val="FFFEFE"/>
    <a:srgbClr val="FFFFFE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445" autoAdjust="0"/>
    <p:restoredTop sz="94660" autoAdjust="0"/>
  </p:normalViewPr>
  <p:slideViewPr>
    <p:cSldViewPr snapToObjects="1" showGuides="1">
      <p:cViewPr>
        <p:scale>
          <a:sx n="75" d="100"/>
          <a:sy n="75" d="100"/>
        </p:scale>
        <p:origin x="-1094" y="-374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orient="horz" pos="3903"/>
        <p:guide orient="horz" pos="654"/>
        <p:guide orient="horz" pos="2452"/>
        <p:guide orient="horz" pos="2360"/>
        <p:guide orient="horz" pos="909"/>
        <p:guide pos="395"/>
        <p:guide pos="3842"/>
        <p:guide pos="3933"/>
        <p:guide pos="7380"/>
        <p:guide pos="5566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60" d="100"/>
          <a:sy n="60" d="100"/>
        </p:scale>
        <p:origin x="-3269" y="-72"/>
      </p:cViewPr>
      <p:guideLst>
        <p:guide orient="horz" pos="3224"/>
        <p:guide pos="223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6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.xml"/><Relationship Id="rId34" Type="http://schemas.openxmlformats.org/officeDocument/2006/relationships/slide" Target="slides/slide14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5.xml"/><Relationship Id="rId33" Type="http://schemas.openxmlformats.org/officeDocument/2006/relationships/slide" Target="slides/slide13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Master" Target="slideMasters/slideMaster1.xml"/><Relationship Id="rId29" Type="http://schemas.openxmlformats.org/officeDocument/2006/relationships/slide" Target="slides/slide9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4.xml"/><Relationship Id="rId32" Type="http://schemas.openxmlformats.org/officeDocument/2006/relationships/slide" Target="slides/slide12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3.xml"/><Relationship Id="rId28" Type="http://schemas.openxmlformats.org/officeDocument/2006/relationships/slide" Target="slides/slide8.xml"/><Relationship Id="rId36" Type="http://schemas.openxmlformats.org/officeDocument/2006/relationships/handoutMaster" Target="handoutMasters/handoutMaster1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1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slide" Target="slides/slide10.xml"/><Relationship Id="rId35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099300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682163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682163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32480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8350"/>
            <a:ext cx="6824662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125" y="4822825"/>
            <a:ext cx="6623050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82163"/>
            <a:ext cx="3249613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682163"/>
            <a:ext cx="3248025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noFill/>
        </p:spPr>
      </p:sp>
      <p:sp>
        <p:nvSpPr>
          <p:cNvPr id="1771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879337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2.jpeg"/><Relationship Id="rId4" Type="http://schemas.openxmlformats.org/officeDocument/2006/relationships/image" Target="../media/image1.jpe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customXml" Target="../../customXml/item10.xml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customXml" Target="../../customXml/item17.xml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customXml" Target="../../customXml/item3.xml"/><Relationship Id="rId6" Type="http://schemas.openxmlformats.org/officeDocument/2006/relationships/image" Target="../media/image2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customXml" Target="../../customXml/item13.xml"/><Relationship Id="rId6" Type="http://schemas.openxmlformats.org/officeDocument/2006/relationships/image" Target="../media/image2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4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image" Target="../media/image2.jpeg"/><Relationship Id="rId2" Type="http://schemas.openxmlformats.org/officeDocument/2006/relationships/tags" Target="../tags/tag60.xml"/><Relationship Id="rId1" Type="http://schemas.openxmlformats.org/officeDocument/2006/relationships/customXml" Target="../../customXml/item1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3.xml"/><Relationship Id="rId4" Type="http://schemas.openxmlformats.org/officeDocument/2006/relationships/tags" Target="../tags/tag6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6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4.xml"/><Relationship Id="rId1" Type="http://schemas.openxmlformats.org/officeDocument/2006/relationships/customXml" Target="../../customXml/item16.xml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4" Type="http://schemas.openxmlformats.org/officeDocument/2006/relationships/tags" Target="../tags/tag66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customXml" Target="../../customXml/item4.xml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customXml" Target="../../customXml/item14.xml"/><Relationship Id="rId6" Type="http://schemas.openxmlformats.org/officeDocument/2006/relationships/image" Target="../media/image2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customXml" Target="../../customXml/item6.xml"/><Relationship Id="rId6" Type="http://schemas.openxmlformats.org/officeDocument/2006/relationships/image" Target="../media/image2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7" Type="http://schemas.openxmlformats.org/officeDocument/2006/relationships/image" Target="../media/image2.jpeg"/><Relationship Id="rId2" Type="http://schemas.openxmlformats.org/officeDocument/2006/relationships/tags" Target="../tags/tag77.xml"/><Relationship Id="rId1" Type="http://schemas.openxmlformats.org/officeDocument/2006/relationships/customXml" Target="../../customXml/item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8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81.xml"/><Relationship Id="rId1" Type="http://schemas.openxmlformats.org/officeDocument/2006/relationships/customXml" Target="../../customXml/item2.xml"/><Relationship Id="rId6" Type="http://schemas.openxmlformats.org/officeDocument/2006/relationships/tags" Target="../tags/tag85.xml"/><Relationship Id="rId5" Type="http://schemas.openxmlformats.org/officeDocument/2006/relationships/tags" Target="../tags/tag84.xml"/><Relationship Id="rId4" Type="http://schemas.openxmlformats.org/officeDocument/2006/relationships/tags" Target="../tags/tag8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2.jpeg"/><Relationship Id="rId2" Type="http://schemas.openxmlformats.org/officeDocument/2006/relationships/tags" Target="../tags/tag86.xml"/><Relationship Id="rId1" Type="http://schemas.openxmlformats.org/officeDocument/2006/relationships/customXml" Target="../../customXml/item1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9.xml"/><Relationship Id="rId4" Type="http://schemas.openxmlformats.org/officeDocument/2006/relationships/tags" Target="../tags/tag88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2" Type="http://schemas.openxmlformats.org/officeDocument/2006/relationships/tags" Target="../tags/tag90.xml"/><Relationship Id="rId1" Type="http://schemas.openxmlformats.org/officeDocument/2006/relationships/customXml" Target="../../customXml/item11.xml"/><Relationship Id="rId6" Type="http://schemas.openxmlformats.org/officeDocument/2006/relationships/tags" Target="../tags/tag94.xml"/><Relationship Id="rId5" Type="http://schemas.openxmlformats.org/officeDocument/2006/relationships/tags" Target="../tags/tag93.xml"/><Relationship Id="rId4" Type="http://schemas.openxmlformats.org/officeDocument/2006/relationships/tags" Target="../tags/tag92.xml"/><Relationship Id="rId9" Type="http://schemas.openxmlformats.org/officeDocument/2006/relationships/image" Target="../media/image2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2.jpeg"/><Relationship Id="rId4" Type="http://schemas.openxmlformats.org/officeDocument/2006/relationships/image" Target="../media/image1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4" Type="http://schemas.openxmlformats.org/officeDocument/2006/relationships/image" Target="../media/image2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4" Type="http://schemas.openxmlformats.org/officeDocument/2006/relationships/image" Target="../media/image2.jpe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4" Type="http://schemas.openxmlformats.org/officeDocument/2006/relationships/image" Target="../media/image2.jpe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customXml" Target="../../customXml/item7.xml"/><Relationship Id="rId6" Type="http://schemas.openxmlformats.org/officeDocument/2006/relationships/image" Target="../media/image2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customXml" Target="../../customXml/item1.xml"/><Relationship Id="rId4" Type="http://schemas.openxmlformats.org/officeDocument/2006/relationships/image" Target="../media/image2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Grafik 30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5" b="535"/>
          <a:stretch/>
        </p:blipFill>
        <p:spPr>
          <a:xfrm>
            <a:off x="0" y="0"/>
            <a:ext cx="12196800" cy="6857128"/>
          </a:xfrm>
          <a:prstGeom prst="rect">
            <a:avLst/>
          </a:prstGeom>
        </p:spPr>
      </p:pic>
      <p:pic>
        <p:nvPicPr>
          <p:cNvPr id="83" name="Picture 2"/>
          <p:cNvPicPr>
            <a:picLocks noChangeAspect="1" noChangeArrowheads="1"/>
          </p:cNvPicPr>
          <p:nvPr userDrawn="1"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</a:t>
            </a:r>
            <a:r>
              <a:rPr lang="de-DE" dirty="0" err="1" smtClean="0"/>
              <a:t>confidentiality</a:t>
            </a:r>
            <a:r>
              <a:rPr lang="de-DE" dirty="0" smtClean="0"/>
              <a:t> </a:t>
            </a:r>
            <a:r>
              <a:rPr lang="de-DE" dirty="0" err="1" smtClean="0"/>
              <a:t>note</a:t>
            </a:r>
            <a:endParaRPr lang="de-DE" dirty="0" smtClean="0"/>
          </a:p>
        </p:txBody>
      </p:sp>
      <p:grpSp>
        <p:nvGrpSpPr>
          <p:cNvPr id="32" name="Gruppieren 3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3" name="Gerade Verbindung 3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94822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2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40000"/>
            <a:ext cx="12204000" cy="47520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14408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fr-FR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6800" cy="6858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31594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0" y="0"/>
            <a:ext cx="1219835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fr-FR" sz="180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fr-FR" sz="180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537660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Blu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0" y="0"/>
            <a:ext cx="12198350" cy="6861907"/>
          </a:xfrm>
          <a:prstGeom prst="rect">
            <a:avLst/>
          </a:prstGeom>
          <a:solidFill>
            <a:srgbClr val="50BED7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fr-FR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799314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2"/>
          <p:cNvPicPr>
            <a:picLocks noChangeAspect="1" noChangeArrowheads="1"/>
          </p:cNvPicPr>
          <p:nvPr userDrawn="1"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0000"/>
            <a:ext cx="8208962" cy="4752000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type="obj" preserve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2"/>
          <p:cNvPicPr>
            <a:picLocks noChangeAspect="1" noChangeArrowheads="1"/>
          </p:cNvPicPr>
          <p:nvPr userDrawn="1"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0000"/>
            <a:ext cx="6768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type="twoObj" preserve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2"/>
          <p:cNvPicPr>
            <a:picLocks noChangeAspect="1" noChangeArrowheads="1"/>
          </p:cNvPicPr>
          <p:nvPr userDrawn="1"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3"/>
            </p:custDataLst>
          </p:nvPr>
        </p:nvSpPr>
        <p:spPr>
          <a:xfrm>
            <a:off x="627063" y="1440000"/>
            <a:ext cx="5472112" cy="475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243638" y="1440000"/>
            <a:ext cx="5472112" cy="475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6070859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2"/>
          <p:cNvPicPr>
            <a:picLocks noChangeAspect="1" noChangeArrowheads="1"/>
          </p:cNvPicPr>
          <p:nvPr userDrawn="1"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fr-FR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440000"/>
            <a:ext cx="5472112" cy="475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440000"/>
            <a:ext cx="5472000" cy="2304000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88000"/>
            <a:ext cx="5472000" cy="2304000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347655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2"/>
          <p:cNvPicPr>
            <a:picLocks noChangeAspect="1" noChangeArrowheads="1"/>
          </p:cNvPicPr>
          <p:nvPr userDrawn="1"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440000"/>
            <a:ext cx="5904000" cy="4752000"/>
          </a:xfr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746000"/>
            <a:ext cx="5472000" cy="1998000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88000"/>
            <a:ext cx="5472000" cy="1998000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837154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2"/>
          <p:cNvPicPr>
            <a:picLocks noChangeAspect="1" noChangeArrowheads="1"/>
          </p:cNvPicPr>
          <p:nvPr userDrawn="1"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0000"/>
            <a:ext cx="8208962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88000"/>
            <a:ext cx="8208962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" name="Picture 2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</a:t>
            </a:r>
            <a:r>
              <a:rPr lang="de-DE" dirty="0" err="1" smtClean="0"/>
              <a:t>confidentiality</a:t>
            </a:r>
            <a:r>
              <a:rPr lang="de-DE" dirty="0" smtClean="0"/>
              <a:t> </a:t>
            </a:r>
            <a:r>
              <a:rPr lang="de-DE" dirty="0" err="1" smtClean="0"/>
              <a:t>note</a:t>
            </a:r>
            <a:endParaRPr lang="de-DE" dirty="0" smtClean="0"/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0641734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2"/>
          <p:cNvPicPr>
            <a:picLocks noChangeAspect="1" noChangeArrowheads="1"/>
          </p:cNvPicPr>
          <p:nvPr userDrawn="1"/>
        </p:nvPicPr>
        <p:blipFill>
          <a:blip r:embed="rId7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0000"/>
            <a:ext cx="360045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370388" y="1440000"/>
            <a:ext cx="3600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8115750" y="1440000"/>
            <a:ext cx="3600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type="fourObj" preserve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2"/>
          <p:cNvPicPr>
            <a:picLocks noChangeAspect="1" noChangeArrowheads="1"/>
          </p:cNvPicPr>
          <p:nvPr userDrawn="1"/>
        </p:nvPicPr>
        <p:blipFill>
          <a:blip r:embed="rId8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cdtTitle 1 Id2"/>
          <p:cNvSpPr>
            <a:spLocks noGrp="1"/>
          </p:cNvSpPr>
          <p:nvPr>
            <p:ph type="title" sz="quarter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3"/>
            </p:custDataLst>
          </p:nvPr>
        </p:nvSpPr>
        <p:spPr>
          <a:xfrm>
            <a:off x="627063" y="1440000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4"/>
            </p:custDataLst>
          </p:nvPr>
        </p:nvSpPr>
        <p:spPr>
          <a:xfrm>
            <a:off x="6243638" y="1440000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5"/>
            </p:custDataLst>
          </p:nvPr>
        </p:nvSpPr>
        <p:spPr>
          <a:xfrm>
            <a:off x="627063" y="3888000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6"/>
            </p:custDataLst>
          </p:nvPr>
        </p:nvSpPr>
        <p:spPr>
          <a:xfrm>
            <a:off x="6243638" y="3888000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5576722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2"/>
          <p:cNvPicPr>
            <a:picLocks noChangeAspect="1" noChangeArrowheads="1"/>
          </p:cNvPicPr>
          <p:nvPr userDrawn="1"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9751" y="1440000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2"/>
          <p:cNvPicPr>
            <a:picLocks noChangeAspect="1" noChangeArrowheads="1"/>
          </p:cNvPicPr>
          <p:nvPr userDrawn="1"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0000"/>
            <a:ext cx="8208962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40000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2"/>
          <p:cNvPicPr>
            <a:picLocks noChangeAspect="1" noChangeArrowheads="1"/>
          </p:cNvPicPr>
          <p:nvPr userDrawn="1"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0000"/>
            <a:ext cx="6768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10419751" y="1440000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2"/>
          <p:cNvPicPr>
            <a:picLocks noChangeAspect="1" noChangeArrowheads="1"/>
          </p:cNvPicPr>
          <p:nvPr userDrawn="1"/>
        </p:nvPicPr>
        <p:blipFill>
          <a:blip r:embed="rId7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0000"/>
            <a:ext cx="4032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5" y="1440000"/>
            <a:ext cx="4032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40000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2"/>
          <p:cNvPicPr>
            <a:picLocks noChangeAspect="1" noChangeArrowheads="1"/>
          </p:cNvPicPr>
          <p:nvPr userDrawn="1"/>
        </p:nvPicPr>
        <p:blipFill>
          <a:blip r:embed="rId8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0000"/>
            <a:ext cx="2592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3362400" y="1440000"/>
            <a:ext cx="2736775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43638" y="1440000"/>
            <a:ext cx="2592387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10419751" y="1440000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2"/>
          <p:cNvPicPr>
            <a:picLocks noChangeAspect="1" noChangeArrowheads="1"/>
          </p:cNvPicPr>
          <p:nvPr userDrawn="1"/>
        </p:nvPicPr>
        <p:blipFill>
          <a:blip r:embed="rId7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0000"/>
            <a:ext cx="8208962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627063" y="3888000"/>
            <a:ext cx="8208962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10419751" y="1440000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2"/>
          <p:cNvPicPr>
            <a:picLocks noChangeAspect="1" noChangeArrowheads="1"/>
          </p:cNvPicPr>
          <p:nvPr userDrawn="1"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440000"/>
            <a:ext cx="4032000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804024" y="1440000"/>
            <a:ext cx="4032000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627063" y="3888000"/>
            <a:ext cx="4032000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6"/>
            </p:custDataLst>
          </p:nvPr>
        </p:nvSpPr>
        <p:spPr>
          <a:xfrm>
            <a:off x="4804025" y="3888000"/>
            <a:ext cx="4032000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10419751" y="1440000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2"/>
          <p:cNvPicPr>
            <a:picLocks noChangeAspect="1" noChangeArrowheads="1"/>
          </p:cNvPicPr>
          <p:nvPr userDrawn="1"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4658996" y="1440000"/>
            <a:ext cx="7539354" cy="4752000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40000"/>
            <a:ext cx="4514400" cy="47520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903329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Grafik 30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5" b="535"/>
          <a:stretch/>
        </p:blipFill>
        <p:spPr>
          <a:xfrm>
            <a:off x="0" y="0"/>
            <a:ext cx="12196800" cy="6857128"/>
          </a:xfrm>
          <a:prstGeom prst="rect">
            <a:avLst/>
          </a:prstGeom>
        </p:spPr>
      </p:pic>
      <p:pic>
        <p:nvPicPr>
          <p:cNvPr id="82" name="Picture 2"/>
          <p:cNvPicPr>
            <a:picLocks noChangeAspect="1" noChangeArrowheads="1"/>
          </p:cNvPicPr>
          <p:nvPr userDrawn="1"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891286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32" name="Gruppieren 3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3" name="Gerade Verbindung 3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9053753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0" name="Picture 2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891600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4308043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Dynamic Petrol">
    <p:bg>
      <p:bgPr>
        <a:gradFill>
          <a:gsLst>
            <a:gs pos="83000">
              <a:srgbClr val="0099B0">
                <a:alpha val="85000"/>
              </a:srgbClr>
            </a:gs>
            <a:gs pos="50000">
              <a:srgbClr val="009999">
                <a:alpha val="85000"/>
              </a:srgbClr>
            </a:gs>
            <a:gs pos="0">
              <a:srgbClr val="50BEBE">
                <a:alpha val="85000"/>
              </a:srgbClr>
            </a:gs>
            <a:gs pos="100000">
              <a:srgbClr val="0099CB">
                <a:alpha val="8500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9" name="Picture 2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0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627063" y="3891600"/>
            <a:ext cx="6480000" cy="234031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3983307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Blue light">
    <p:bg>
      <p:bgPr>
        <a:solidFill>
          <a:srgbClr val="50BE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" name="Picture 2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31" name="Gruppieren 3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2" name="Gerade Verbindung 31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4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627063" y="3891600"/>
            <a:ext cx="6480000" cy="234031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6554810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fr-FR" dirty="0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4658996" y="1439999"/>
            <a:ext cx="7539354" cy="4752000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39999"/>
            <a:ext cx="4514400" cy="47520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pic>
        <p:nvPicPr>
          <p:cNvPr id="37" name="Picture 2"/>
          <p:cNvPicPr>
            <a:picLocks noChangeAspect="1" noChangeArrowheads="1"/>
          </p:cNvPicPr>
          <p:nvPr userDrawn="1"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502154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2"/>
          <p:cNvPicPr>
            <a:picLocks noChangeAspect="1" noChangeArrowheads="1"/>
          </p:cNvPicPr>
          <p:nvPr userDrawn="1"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-1"/>
            <a:ext cx="12198350" cy="1440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627063" y="1440000"/>
            <a:ext cx="3887914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 bwMode="auto">
          <a:xfrm>
            <a:off x="4658995" y="1440000"/>
            <a:ext cx="7539355" cy="4752000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 preserve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2"/>
          <p:cNvPicPr>
            <a:picLocks noChangeAspect="1" noChangeArrowheads="1"/>
          </p:cNvPicPr>
          <p:nvPr userDrawn="1"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9555750" y="323404"/>
            <a:ext cx="216027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440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366034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10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5.xml"/><Relationship Id="rId42" Type="http://schemas.openxmlformats.org/officeDocument/2006/relationships/tags" Target="../tags/tag13.xml"/><Relationship Id="rId47" Type="http://schemas.openxmlformats.org/officeDocument/2006/relationships/tags" Target="../tags/tag18.xml"/><Relationship Id="rId50" Type="http://schemas.openxmlformats.org/officeDocument/2006/relationships/tags" Target="../tags/tag21.xml"/><Relationship Id="rId55" Type="http://schemas.openxmlformats.org/officeDocument/2006/relationships/tags" Target="../tags/tag26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4.xml"/><Relationship Id="rId38" Type="http://schemas.openxmlformats.org/officeDocument/2006/relationships/tags" Target="../tags/tag9.xml"/><Relationship Id="rId46" Type="http://schemas.openxmlformats.org/officeDocument/2006/relationships/tags" Target="../tags/tag17.xml"/><Relationship Id="rId59" Type="http://schemas.openxmlformats.org/officeDocument/2006/relationships/tags" Target="../tags/tag30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12.xml"/><Relationship Id="rId54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37" Type="http://schemas.openxmlformats.org/officeDocument/2006/relationships/tags" Target="../tags/tag8.xml"/><Relationship Id="rId40" Type="http://schemas.openxmlformats.org/officeDocument/2006/relationships/tags" Target="../tags/tag11.xml"/><Relationship Id="rId45" Type="http://schemas.openxmlformats.org/officeDocument/2006/relationships/tags" Target="../tags/tag16.xml"/><Relationship Id="rId53" Type="http://schemas.openxmlformats.org/officeDocument/2006/relationships/tags" Target="../tags/tag24.xml"/><Relationship Id="rId58" Type="http://schemas.openxmlformats.org/officeDocument/2006/relationships/tags" Target="../tags/tag29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7.xml"/><Relationship Id="rId49" Type="http://schemas.openxmlformats.org/officeDocument/2006/relationships/tags" Target="../tags/tag20.xml"/><Relationship Id="rId57" Type="http://schemas.openxmlformats.org/officeDocument/2006/relationships/tags" Target="../tags/tag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4" Type="http://schemas.openxmlformats.org/officeDocument/2006/relationships/tags" Target="../tags/tag15.xml"/><Relationship Id="rId52" Type="http://schemas.openxmlformats.org/officeDocument/2006/relationships/tags" Target="../tags/tag2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tags" Target="../tags/tag6.xml"/><Relationship Id="rId43" Type="http://schemas.openxmlformats.org/officeDocument/2006/relationships/tags" Target="../tags/tag14.xml"/><Relationship Id="rId48" Type="http://schemas.openxmlformats.org/officeDocument/2006/relationships/tags" Target="../tags/tag19.xml"/><Relationship Id="rId56" Type="http://schemas.openxmlformats.org/officeDocument/2006/relationships/tags" Target="../tags/tag27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2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31"/>
            </p:custDataLst>
          </p:nvPr>
        </p:nvSpPr>
        <p:spPr bwMode="auto">
          <a:xfrm>
            <a:off x="0" y="-1"/>
            <a:ext cx="12198350" cy="14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7468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32"/>
            </p:custDataLst>
          </p:nvPr>
        </p:nvSpPr>
        <p:spPr bwMode="auto">
          <a:xfrm>
            <a:off x="627063" y="1441451"/>
            <a:ext cx="8208962" cy="475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cdtText Box 133 Id16"/>
          <p:cNvSpPr txBox="1">
            <a:spLocks noChangeArrowheads="1"/>
          </p:cNvSpPr>
          <p:nvPr userDrawn="1">
            <p:custDataLst>
              <p:tags r:id="rId56"/>
            </p:custDataLst>
          </p:nvPr>
        </p:nvSpPr>
        <p:spPr bwMode="auto">
          <a:xfrm>
            <a:off x="0" y="6200774"/>
            <a:ext cx="121983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de-DE" sz="1000" b="1" dirty="0" err="1" smtClean="0">
                <a:solidFill>
                  <a:srgbClr val="879BAA"/>
                </a:solidFill>
              </a:rPr>
              <a:t>Unrestricted</a:t>
            </a:r>
            <a:r>
              <a:rPr lang="de-DE" sz="1000" b="1" dirty="0" smtClean="0">
                <a:solidFill>
                  <a:srgbClr val="879BAA"/>
                </a:solidFill>
              </a:rPr>
              <a:t> © </a:t>
            </a:r>
            <a:r>
              <a:rPr lang="de-DE" sz="1000" b="1" dirty="0">
                <a:solidFill>
                  <a:srgbClr val="879BAA"/>
                </a:solidFill>
              </a:rPr>
              <a:t>Siemens AG </a:t>
            </a:r>
            <a:r>
              <a:rPr lang="de-DE" sz="1000" b="1" dirty="0" smtClean="0">
                <a:solidFill>
                  <a:srgbClr val="879BAA"/>
                </a:solidFill>
              </a:rPr>
              <a:t>2017</a:t>
            </a:r>
            <a:endParaRPr lang="de-DE" sz="1000" b="1" dirty="0">
              <a:solidFill>
                <a:srgbClr val="879BAA"/>
              </a:solidFill>
            </a:endParaRPr>
          </a:p>
        </p:txBody>
      </p:sp>
      <p:sp>
        <p:nvSpPr>
          <p:cNvPr id="64" name="cdtTextBox 12 Id17"/>
          <p:cNvSpPr txBox="1"/>
          <p:nvPr userDrawn="1">
            <p:custDataLst>
              <p:tags r:id="rId57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 smtClean="0">
                <a:solidFill>
                  <a:srgbClr val="000000"/>
                </a:solidFill>
              </a:rPr>
              <a:t>07.11.2017</a:t>
            </a:r>
          </a:p>
        </p:txBody>
      </p:sp>
      <p:sp>
        <p:nvSpPr>
          <p:cNvPr id="65" name="cdtTextBox 11 Id18"/>
          <p:cNvSpPr txBox="1"/>
          <p:nvPr userDrawn="1">
            <p:custDataLst>
              <p:tags r:id="rId58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 smtClean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de-DE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noProof="0" dirty="0" smtClean="0">
              <a:solidFill>
                <a:srgbClr val="000000"/>
              </a:solidFill>
            </a:endParaRPr>
          </a:p>
        </p:txBody>
      </p:sp>
      <p:sp>
        <p:nvSpPr>
          <p:cNvPr id="66" name="cdtTextBox 13 Id19"/>
          <p:cNvSpPr txBox="1"/>
          <p:nvPr userDrawn="1">
            <p:custDataLst>
              <p:tags r:id="rId59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 smtClean="0">
                <a:solidFill>
                  <a:srgbClr val="000000"/>
                </a:solidFill>
              </a:rPr>
              <a:t>Alexander</a:t>
            </a:r>
            <a:r>
              <a:rPr lang="de-DE" sz="1000" baseline="0" noProof="0" dirty="0" smtClean="0">
                <a:solidFill>
                  <a:srgbClr val="000000"/>
                </a:solidFill>
              </a:rPr>
              <a:t> Nuzhdin</a:t>
            </a:r>
            <a:r>
              <a:rPr lang="de-DE" sz="1000" noProof="0" dirty="0" smtClean="0">
                <a:solidFill>
                  <a:srgbClr val="000000"/>
                </a:solidFill>
              </a:rPr>
              <a:t> / DF</a:t>
            </a:r>
            <a:r>
              <a:rPr lang="de-DE" sz="1000" baseline="0" noProof="0" dirty="0" smtClean="0">
                <a:solidFill>
                  <a:srgbClr val="000000"/>
                </a:solidFill>
              </a:rPr>
              <a:t> MC GMC</a:t>
            </a:r>
            <a:endParaRPr lang="de-DE" sz="1000" noProof="0" dirty="0" smtClean="0">
              <a:solidFill>
                <a:srgbClr val="000000"/>
              </a:solidFill>
            </a:endParaRPr>
          </a:p>
        </p:txBody>
      </p:sp>
      <p:grpSp>
        <p:nvGrpSpPr>
          <p:cNvPr id="67" name="Gruppieren 66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68" name="Gerade Verbindung 67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-126000" y="135145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-126000" y="3653512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-126000" y="380105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-126000" y="6101999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54" name="Textplatzhalter 13"/>
          <p:cNvSpPr txBox="1">
            <a:spLocks/>
          </p:cNvSpPr>
          <p:nvPr userDrawn="1"/>
        </p:nvSpPr>
        <p:spPr bwMode="auto">
          <a:xfrm>
            <a:off x="9483551" y="6273649"/>
            <a:ext cx="3405006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16000" tIns="90000" rIns="0" bIns="46800" numCol="1" anchor="t" anchorCtr="0" compatLnSpc="1">
            <a:prstTxWarp prst="textNoShape">
              <a:avLst/>
            </a:prstTxWarp>
          </a:bodyPr>
          <a:lstStyle/>
          <a:p>
            <a:pPr lvl="0">
              <a:spcBef>
                <a:spcPct val="0"/>
              </a:spcBef>
              <a:buClr>
                <a:schemeClr val="accent1"/>
              </a:buClr>
            </a:pPr>
            <a:r>
              <a:rPr lang="ru-RU" sz="1000" b="1" kern="0" dirty="0" smtClean="0">
                <a:solidFill>
                  <a:schemeClr val="tx1"/>
                </a:solidFill>
                <a:ea typeface="+mn-ea"/>
                <a:cs typeface="Arial" pitchFamily="34" charset="0"/>
              </a:rPr>
              <a:t> </a:t>
            </a:r>
            <a:r>
              <a:rPr lang="ru-RU" sz="1000" i="1" kern="0" dirty="0" smtClean="0">
                <a:solidFill>
                  <a:schemeClr val="tx1"/>
                </a:solidFill>
                <a:ea typeface="+mn-ea"/>
                <a:cs typeface="Arial" pitchFamily="34" charset="0"/>
              </a:rPr>
              <a:t>*Изобретательность для жизни</a:t>
            </a:r>
            <a:endParaRPr kumimoji="0" lang="ru-RU" sz="1000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2" r:id="rId2"/>
    <p:sldLayoutId id="2147483708" r:id="rId3"/>
    <p:sldLayoutId id="2147483709" r:id="rId4"/>
    <p:sldLayoutId id="2147483710" r:id="rId5"/>
    <p:sldLayoutId id="2147483711" r:id="rId6"/>
    <p:sldLayoutId id="2147483703" r:id="rId7"/>
    <p:sldLayoutId id="2147483679" r:id="rId8"/>
    <p:sldLayoutId id="2147483695" r:id="rId9"/>
    <p:sldLayoutId id="2147483705" r:id="rId10"/>
    <p:sldLayoutId id="2147483706" r:id="rId11"/>
    <p:sldLayoutId id="2147483713" r:id="rId12"/>
    <p:sldLayoutId id="2147483712" r:id="rId13"/>
    <p:sldLayoutId id="2147483670" r:id="rId14"/>
    <p:sldLayoutId id="2147483692" r:id="rId15"/>
    <p:sldLayoutId id="2147483696" r:id="rId16"/>
    <p:sldLayoutId id="2147483707" r:id="rId17"/>
    <p:sldLayoutId id="2147483715" r:id="rId18"/>
    <p:sldLayoutId id="2147483683" r:id="rId19"/>
    <p:sldLayoutId id="2147483681" r:id="rId20"/>
    <p:sldLayoutId id="2147483697" r:id="rId21"/>
    <p:sldLayoutId id="2147483691" r:id="rId22"/>
    <p:sldLayoutId id="2147483693" r:id="rId23"/>
    <p:sldLayoutId id="2147483684" r:id="rId24"/>
    <p:sldLayoutId id="2147483685" r:id="rId25"/>
    <p:sldLayoutId id="2147483694" r:id="rId26"/>
    <p:sldLayoutId id="2147483686" r:id="rId27"/>
    <p:sldLayoutId id="2147483688" r:id="rId28"/>
    <p:sldLayoutId id="2147483704" r:id="rId29"/>
  </p:sldLayoutIdLst>
  <p:timing>
    <p:tnLst>
      <p:par>
        <p:cTn id="1" dur="indefinite" restart="never" nodeType="tmRoot"/>
      </p:par>
    </p:tnLst>
  </p:timing>
  <p:hf hdr="0"/>
  <p:txStyles>
    <p:titleStyle>
      <a:lvl1pPr algn="l" rtl="0" fontAlgn="base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1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17.xml"/><Relationship Id="rId4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119.xml"/><Relationship Id="rId1" Type="http://schemas.openxmlformats.org/officeDocument/2006/relationships/tags" Target="../tags/tag1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20.xml"/><Relationship Id="rId6" Type="http://schemas.openxmlformats.org/officeDocument/2006/relationships/image" Target="../media/image34.jpeg"/><Relationship Id="rId5" Type="http://schemas.openxmlformats.org/officeDocument/2006/relationships/image" Target="../media/image33.png"/><Relationship Id="rId4" Type="http://schemas.openxmlformats.org/officeDocument/2006/relationships/image" Target="../media/image32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123.xml"/><Relationship Id="rId7" Type="http://schemas.openxmlformats.org/officeDocument/2006/relationships/slideLayout" Target="../slideLayouts/slideLayout29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5" Type="http://schemas.openxmlformats.org/officeDocument/2006/relationships/tags" Target="../tags/tag125.xml"/><Relationship Id="rId10" Type="http://schemas.openxmlformats.org/officeDocument/2006/relationships/image" Target="../media/image35.jpeg"/><Relationship Id="rId4" Type="http://schemas.openxmlformats.org/officeDocument/2006/relationships/tags" Target="../tags/tag124.xml"/><Relationship Id="rId9" Type="http://schemas.openxmlformats.org/officeDocument/2006/relationships/hyperlink" Target="mailto:alexander.nuzhdin@siemens.com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97.xml"/><Relationship Id="rId6" Type="http://schemas.openxmlformats.org/officeDocument/2006/relationships/image" Target="../media/image7.emf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00.xml"/><Relationship Id="rId7" Type="http://schemas.openxmlformats.org/officeDocument/2006/relationships/slideLayout" Target="../slideLayouts/slideLayout17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11" Type="http://schemas.openxmlformats.org/officeDocument/2006/relationships/image" Target="../media/image18.jpeg"/><Relationship Id="rId5" Type="http://schemas.openxmlformats.org/officeDocument/2006/relationships/tags" Target="../tags/tag102.xml"/><Relationship Id="rId10" Type="http://schemas.openxmlformats.org/officeDocument/2006/relationships/image" Target="../media/image17.jpeg"/><Relationship Id="rId4" Type="http://schemas.openxmlformats.org/officeDocument/2006/relationships/tags" Target="../tags/tag101.xml"/><Relationship Id="rId9" Type="http://schemas.openxmlformats.org/officeDocument/2006/relationships/image" Target="../media/image16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image" Target="../media/image23.png"/><Relationship Id="rId3" Type="http://schemas.openxmlformats.org/officeDocument/2006/relationships/tags" Target="../tags/tag106.xml"/><Relationship Id="rId7" Type="http://schemas.openxmlformats.org/officeDocument/2006/relationships/tags" Target="../tags/tag110.xml"/><Relationship Id="rId12" Type="http://schemas.openxmlformats.org/officeDocument/2006/relationships/image" Target="../media/image22.jpeg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tags" Target="../tags/tag109.xml"/><Relationship Id="rId11" Type="http://schemas.openxmlformats.org/officeDocument/2006/relationships/image" Target="../media/image21.jpeg"/><Relationship Id="rId5" Type="http://schemas.openxmlformats.org/officeDocument/2006/relationships/tags" Target="../tags/tag108.xml"/><Relationship Id="rId10" Type="http://schemas.openxmlformats.org/officeDocument/2006/relationships/image" Target="../media/image20.jpeg"/><Relationship Id="rId4" Type="http://schemas.openxmlformats.org/officeDocument/2006/relationships/tags" Target="../tags/tag107.xml"/><Relationship Id="rId9" Type="http://schemas.openxmlformats.org/officeDocument/2006/relationships/image" Target="../media/image19.jpeg"/><Relationship Id="rId14" Type="http://schemas.openxmlformats.org/officeDocument/2006/relationships/image" Target="../media/image24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tags" Target="../tags/tag113.xml"/><Relationship Id="rId7" Type="http://schemas.openxmlformats.org/officeDocument/2006/relationships/image" Target="../media/image26.png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image" Target="../media/image25.png"/><Relationship Id="rId5" Type="http://schemas.openxmlformats.org/officeDocument/2006/relationships/slideLayout" Target="../slideLayouts/slideLayout17.xml"/><Relationship Id="rId10" Type="http://schemas.openxmlformats.org/officeDocument/2006/relationships/image" Target="../media/image29.jpeg"/><Relationship Id="rId4" Type="http://schemas.openxmlformats.org/officeDocument/2006/relationships/tags" Target="../tags/tag114.xml"/><Relationship Id="rId9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C:\Users\z003n8mk\AppData\Local\Microsoft\Windows\Temporary Internet Files\Content.Outlook\PNUYI8BS\I_DT_Gruppe_SIMOTICS_Servogetriebemotoren_LW_sRGB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7262" y="8620"/>
            <a:ext cx="10542593" cy="6210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27063" y="4277789"/>
            <a:ext cx="5400000" cy="1524706"/>
          </a:xfrm>
        </p:spPr>
        <p:txBody>
          <a:bodyPr/>
          <a:lstStyle/>
          <a:p>
            <a:r>
              <a:rPr lang="en-US" dirty="0" smtClean="0"/>
              <a:t>SIMOTICS </a:t>
            </a:r>
            <a:r>
              <a:rPr lang="en-US" dirty="0"/>
              <a:t>S-1FG1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sz="1100" b="0" noProof="0" dirty="0" smtClean="0"/>
              <a:t/>
            </a:r>
            <a:br>
              <a:rPr lang="en-US" sz="1100" b="0" noProof="0" dirty="0" smtClean="0"/>
            </a:br>
            <a:r>
              <a:rPr lang="ru-RU" sz="2400" b="0" dirty="0">
                <a:latin typeface="Arial"/>
              </a:rPr>
              <a:t>Конкурентные преимущества</a:t>
            </a:r>
            <a:endParaRPr lang="en-US" sz="2200" b="0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2"/>
          </p:nvPr>
        </p:nvSpPr>
        <p:spPr>
          <a:xfrm>
            <a:off x="627063" y="5907600"/>
            <a:ext cx="5400000" cy="324000"/>
          </a:xfrm>
        </p:spPr>
        <p:txBody>
          <a:bodyPr/>
          <a:lstStyle/>
          <a:p>
            <a:r>
              <a:rPr lang="en-US" dirty="0"/>
              <a:t>siemens.com/servo-geared-motors</a:t>
            </a:r>
            <a:endParaRPr lang="en-US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U</a:t>
            </a:r>
            <a:r>
              <a:rPr lang="en-US" dirty="0" err="1" smtClean="0"/>
              <a:t>nr</a:t>
            </a:r>
            <a:r>
              <a:rPr lang="en-US" noProof="0" dirty="0" err="1" smtClean="0"/>
              <a:t>estricted</a:t>
            </a:r>
            <a:r>
              <a:rPr lang="en-US" noProof="0" dirty="0" smtClean="0"/>
              <a:t> © Siemens AG 2017</a:t>
            </a:r>
            <a:endParaRPr lang="en-US" noProof="0" dirty="0"/>
          </a:p>
        </p:txBody>
      </p:sp>
      <p:sp>
        <p:nvSpPr>
          <p:cNvPr id="5" name="cdtText Box 17 Id20497"/>
          <p:cNvSpPr txBox="1">
            <a:spLocks noChangeArrowheads="1"/>
          </p:cNvSpPr>
          <p:nvPr/>
        </p:nvSpPr>
        <p:spPr bwMode="auto">
          <a:xfrm>
            <a:off x="627063" y="2189618"/>
            <a:ext cx="863599" cy="863600"/>
          </a:xfrm>
          <a:prstGeom prst="rect">
            <a:avLst/>
          </a:prstGeom>
          <a:solidFill>
            <a:srgbClr val="AF235F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08000" tIns="0" rIns="0" bIns="122400" anchor="b" anchorCtr="0"/>
          <a:lstStyle/>
          <a:p>
            <a:pPr>
              <a:lnSpc>
                <a:spcPct val="110000"/>
              </a:lnSpc>
            </a:pPr>
            <a:r>
              <a:rPr lang="en-US" sz="800" b="1" dirty="0" smtClean="0">
                <a:solidFill>
                  <a:srgbClr val="FFFFFF"/>
                </a:solidFill>
              </a:rPr>
              <a:t>SIMOTICS S</a:t>
            </a:r>
            <a:endParaRPr lang="en-US" sz="800" b="1" dirty="0">
              <a:solidFill>
                <a:srgbClr val="FFFFFF"/>
              </a:solidFill>
            </a:endParaRPr>
          </a:p>
        </p:txBody>
      </p:sp>
      <p:sp>
        <p:nvSpPr>
          <p:cNvPr id="6" name="cdtText Box 17 Id20497"/>
          <p:cNvSpPr txBox="1">
            <a:spLocks noChangeArrowheads="1"/>
          </p:cNvSpPr>
          <p:nvPr/>
        </p:nvSpPr>
        <p:spPr bwMode="auto">
          <a:xfrm>
            <a:off x="1634400" y="2189618"/>
            <a:ext cx="863599" cy="86360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108000" tIns="0" rIns="0" bIns="122400" anchor="b" anchorCtr="0"/>
          <a:lstStyle/>
          <a:p>
            <a:pPr>
              <a:lnSpc>
                <a:spcPct val="110000"/>
              </a:lnSpc>
            </a:pPr>
            <a:r>
              <a:rPr lang="ru-RU" sz="800" b="1" dirty="0">
                <a:solidFill>
                  <a:srgbClr val="FFFFFF"/>
                </a:solidFill>
              </a:rPr>
              <a:t>Серво-мотор-редукторы</a:t>
            </a:r>
            <a:endParaRPr lang="en-US" sz="800" b="1" dirty="0">
              <a:solidFill>
                <a:srgbClr val="FFFFFF"/>
              </a:solidFill>
            </a:endParaRPr>
          </a:p>
        </p:txBody>
      </p:sp>
      <p:sp>
        <p:nvSpPr>
          <p:cNvPr id="7" name="Textplatzhalter 13"/>
          <p:cNvSpPr txBox="1">
            <a:spLocks/>
          </p:cNvSpPr>
          <p:nvPr/>
        </p:nvSpPr>
        <p:spPr bwMode="auto">
          <a:xfrm>
            <a:off x="9303531" y="6030000"/>
            <a:ext cx="3405006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16000" tIns="90000" rIns="0" bIns="46800" numCol="1" anchor="t" anchorCtr="0" compatLnSpc="1">
            <a:prstTxWarp prst="textNoShape">
              <a:avLst/>
            </a:prstTxWarp>
          </a:bodyPr>
          <a:lstStyle/>
          <a:p>
            <a:pPr lvl="0">
              <a:spcBef>
                <a:spcPct val="0"/>
              </a:spcBef>
              <a:buClr>
                <a:schemeClr val="accent1"/>
              </a:buClr>
            </a:pPr>
            <a:r>
              <a:rPr lang="ru-RU" sz="1000" b="1" kern="0" dirty="0" smtClean="0">
                <a:solidFill>
                  <a:schemeClr val="bg1"/>
                </a:solidFill>
                <a:ea typeface="+mn-ea"/>
                <a:cs typeface="Arial" pitchFamily="34" charset="0"/>
              </a:rPr>
              <a:t> </a:t>
            </a:r>
            <a:r>
              <a:rPr lang="ru-RU" sz="1000" i="1" kern="0" dirty="0" smtClean="0">
                <a:solidFill>
                  <a:schemeClr val="tx1"/>
                </a:solidFill>
                <a:ea typeface="+mn-ea"/>
                <a:cs typeface="Arial" pitchFamily="34" charset="0"/>
              </a:rPr>
              <a:t>*Изобретательность для жизни</a:t>
            </a:r>
            <a:endParaRPr kumimoji="0" lang="ru-RU" sz="1000" i="1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6473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ожет быть легко адаптирован для обращения к приложению</a:t>
            </a:r>
            <a:endParaRPr lang="en-US" noProof="0" dirty="0"/>
          </a:p>
        </p:txBody>
      </p:sp>
      <p:sp>
        <p:nvSpPr>
          <p:cNvPr id="17" name="Inhaltsplatzhalter 3"/>
          <p:cNvSpPr txBox="1">
            <a:spLocks/>
          </p:cNvSpPr>
          <p:nvPr/>
        </p:nvSpPr>
        <p:spPr bwMode="auto">
          <a:xfrm>
            <a:off x="720042" y="1412875"/>
            <a:ext cx="1095098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 eaLnBrk="0" hangingPunct="0">
              <a:lnSpc>
                <a:spcPct val="110000"/>
              </a:lnSpc>
              <a:buClr>
                <a:schemeClr val="accent1"/>
              </a:buClr>
              <a:buFont typeface="Arial" charset="0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179388" indent="-1778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358775" indent="-1778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538163" indent="-1778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717550" indent="-1778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1174750" indent="-1778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1631950" indent="-1778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2089150" indent="-1778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2546350" indent="-1778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algn="l">
              <a:buNone/>
            </a:pPr>
            <a:r>
              <a:rPr lang="ru-RU" altLang="de-DE" b="1" dirty="0" smtClean="0">
                <a:latin typeface="Arial"/>
                <a:ea typeface="ＭＳ Ｐゴシック"/>
                <a:cs typeface="+mn-cs"/>
              </a:rPr>
              <a:t>Основные пункты</a:t>
            </a:r>
            <a:endParaRPr lang="en-US" altLang="de-DE" b="1" i="0" dirty="0">
              <a:latin typeface="Arial"/>
              <a:ea typeface="ＭＳ Ｐゴシック"/>
              <a:cs typeface="+mn-cs"/>
            </a:endParaRPr>
          </a:p>
        </p:txBody>
      </p:sp>
      <p:graphicFrame>
        <p:nvGraphicFramePr>
          <p:cNvPr id="18" name="Inhaltsplatzhalter 11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3002891"/>
              </p:ext>
            </p:extLst>
          </p:nvPr>
        </p:nvGraphicFramePr>
        <p:xfrm>
          <a:off x="4370388" y="1520788"/>
          <a:ext cx="7345362" cy="4719124"/>
        </p:xfrm>
        <a:graphic>
          <a:graphicData uri="http://schemas.openxmlformats.org/drawingml/2006/table">
            <a:tbl>
              <a:tblPr/>
              <a:tblGrid>
                <a:gridCol w="3456641"/>
                <a:gridCol w="432080"/>
                <a:gridCol w="3456641"/>
              </a:tblGrid>
              <a:tr h="432000">
                <a:tc>
                  <a:txBody>
                    <a:bodyPr/>
                    <a:lstStyle>
                      <a:lvl1pPr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742950" indent="-28575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altLang="de-DE" sz="16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Особенности</a:t>
                      </a:r>
                      <a:endParaRPr lang="en-US" altLang="de-DE" sz="1600" b="1" i="0" u="none" strike="noStrike" cap="none" baseline="0" dirty="0">
                        <a:solidFill>
                          <a:srgbClr val="FFFFFF"/>
                        </a:solidFill>
                        <a:effectLst/>
                        <a:latin typeface="Arial"/>
                        <a:ea typeface="ＭＳ Ｐゴシック"/>
                        <a:cs typeface="Arial"/>
                      </a:endParaRPr>
                    </a:p>
                  </a:txBody>
                  <a:tcPr marL="108000" marR="108000" marT="54000" marB="540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46E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742950" indent="-28575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de-DE" sz="16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rgbClr val="AAB414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  <a:sym typeface="Wingdings" pitchFamily="2" charset="2"/>
                      </a:endParaRPr>
                    </a:p>
                  </a:txBody>
                  <a:tcPr marL="108000" marR="108000" marT="54000" marB="540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742950" indent="-28575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altLang="de-DE" sz="16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Преимущества</a:t>
                      </a:r>
                      <a:endParaRPr lang="en-US" altLang="de-DE" sz="1600" b="1" i="0" u="none" strike="noStrike" cap="none" baseline="0" dirty="0">
                        <a:solidFill>
                          <a:srgbClr val="FFFFFF"/>
                        </a:solidFill>
                        <a:effectLst/>
                        <a:latin typeface="Arial"/>
                        <a:ea typeface="ＭＳ Ｐゴシック"/>
                        <a:cs typeface="Arial"/>
                      </a:endParaRPr>
                    </a:p>
                  </a:txBody>
                  <a:tcPr marL="108000" marR="108000" marT="54000" marB="540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1AAAA"/>
                    </a:solidFill>
                  </a:tcPr>
                </a:tc>
              </a:tr>
              <a:tr h="717021">
                <a:tc>
                  <a:txBody>
                    <a:bodyPr/>
                    <a:lstStyle>
                      <a:lvl1pPr marL="342900" indent="-3429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142875" indent="-142875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146304" marR="0" lvl="1" indent="-146304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Tx/>
                        <a:buChar char="•"/>
                      </a:pPr>
                      <a:r>
                        <a:rPr lang="ru-RU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Цилиндрические</a:t>
                      </a:r>
                      <a:r>
                        <a:rPr lang="en-US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, </a:t>
                      </a:r>
                      <a:r>
                        <a:rPr lang="ru-RU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плоские</a:t>
                      </a:r>
                      <a:r>
                        <a:rPr lang="en-US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, </a:t>
                      </a:r>
                      <a:r>
                        <a:rPr lang="ru-RU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конические и червячные редукторы</a:t>
                      </a:r>
                      <a:endParaRPr lang="en-US" altLang="de-DE" sz="1500" b="0" i="0" u="none" strike="noStrike" cap="none" baseline="0" dirty="0"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/>
                        <a:cs typeface="Arial"/>
                      </a:endParaRPr>
                    </a:p>
                  </a:txBody>
                  <a:tcPr marL="108000" marR="108000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342900" indent="-3429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lvl="1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dirty="0" smtClean="0">
                          <a:solidFill>
                            <a:srgbClr val="41AAAA"/>
                          </a:solidFill>
                          <a:latin typeface="+mn-lt"/>
                          <a:ea typeface="+mn-ea"/>
                          <a:cs typeface="+mn-cs"/>
                          <a:sym typeface="Wingdings 3"/>
                        </a:rPr>
                        <a:t></a:t>
                      </a:r>
                      <a:endParaRPr lang="en-US" sz="1600" b="0" i="0" dirty="0">
                        <a:solidFill>
                          <a:srgbClr val="41AAAA"/>
                        </a:solidFill>
                        <a:latin typeface="+mn-lt"/>
                        <a:ea typeface="+mn-ea"/>
                        <a:cs typeface="+mn-cs"/>
                        <a:sym typeface="Wingdings 3"/>
                      </a:endParaRPr>
                    </a:p>
                  </a:txBody>
                  <a:tcPr marL="108000" marR="108000" marT="54000" marB="540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342900" indent="-3429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142875" indent="-142875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146304" marR="0" lvl="1" indent="-146304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Tx/>
                        <a:buChar char="•"/>
                      </a:pPr>
                      <a:r>
                        <a:rPr lang="ru-RU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Все обычные концепции могут быть реализованы</a:t>
                      </a:r>
                      <a:endParaRPr lang="en-US" altLang="de-DE" sz="1600" b="0" i="0" u="none" strike="noStrike" cap="none" baseline="0" dirty="0"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/>
                        <a:cs typeface="Arial"/>
                      </a:endParaRPr>
                    </a:p>
                  </a:txBody>
                  <a:tcPr marL="108000" marR="108000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1010532">
                <a:tc>
                  <a:txBody>
                    <a:bodyPr/>
                    <a:lstStyle/>
                    <a:p>
                      <a:pPr marL="146304" marR="0" lvl="1" indent="-146304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Tx/>
                        <a:buChar char="•"/>
                      </a:pPr>
                      <a:r>
                        <a:rPr lang="ru-RU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Точное поддержание</a:t>
                      </a:r>
                      <a:endParaRPr lang="en-US" altLang="de-DE" sz="1600" b="0" i="0" u="none" strike="noStrike" cap="none" baseline="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/>
                        <a:cs typeface="Arial"/>
                      </a:endParaRPr>
                    </a:p>
                    <a:p>
                      <a:pPr marL="411480" marR="0" lvl="1" indent="-283464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Courier New"/>
                        <a:buChar char="o"/>
                      </a:pPr>
                      <a:r>
                        <a:rPr lang="ru-RU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скорости</a:t>
                      </a:r>
                      <a:endParaRPr lang="en-US" altLang="de-DE" sz="1600" b="0" i="0" u="none" strike="noStrike" cap="none" baseline="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/>
                        <a:cs typeface="Arial"/>
                      </a:endParaRPr>
                    </a:p>
                    <a:p>
                      <a:pPr marL="411480" marR="0" lvl="1" indent="-283464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Courier New"/>
                        <a:buChar char="o"/>
                      </a:pPr>
                      <a:r>
                        <a:rPr lang="ru-RU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момента</a:t>
                      </a:r>
                      <a:endParaRPr lang="en-US" altLang="de-DE" sz="1600" b="0" i="0" u="none" strike="noStrike" cap="none" baseline="0" dirty="0"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/>
                        <a:cs typeface="Arial"/>
                      </a:endParaRPr>
                    </a:p>
                  </a:txBody>
                  <a:tcPr marL="108000" marR="108000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dirty="0" smtClean="0">
                          <a:solidFill>
                            <a:srgbClr val="41AAAA"/>
                          </a:solidFill>
                          <a:latin typeface="+mn-lt"/>
                          <a:ea typeface="+mn-ea"/>
                          <a:cs typeface="+mn-cs"/>
                          <a:sym typeface="Wingdings 3"/>
                        </a:rPr>
                        <a:t></a:t>
                      </a:r>
                      <a:endParaRPr lang="en-US" sz="1600" b="0" i="0" dirty="0">
                        <a:solidFill>
                          <a:srgbClr val="41AAAA"/>
                        </a:solidFill>
                        <a:latin typeface="+mn-lt"/>
                        <a:ea typeface="+mn-ea"/>
                        <a:cs typeface="+mn-cs"/>
                        <a:sym typeface="Wingdings 3"/>
                      </a:endParaRPr>
                    </a:p>
                  </a:txBody>
                  <a:tcPr marL="108000" marR="108000" marT="54000" marB="540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46304" marR="0" lvl="1" indent="-146304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Tx/>
                        <a:buChar char="•"/>
                      </a:pPr>
                      <a:r>
                        <a:rPr lang="ru-RU" altLang="de-DE" sz="15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ＭＳ Ｐゴシック"/>
                          <a:cs typeface="Arial"/>
                        </a:rPr>
                        <a:t>Мотор-редуктор и инвертор оптимально адаптированы для удовлетворения требований</a:t>
                      </a:r>
                    </a:p>
                  </a:txBody>
                  <a:tcPr marL="108000" marR="108000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1597552">
                <a:tc>
                  <a:txBody>
                    <a:bodyPr/>
                    <a:lstStyle/>
                    <a:p>
                      <a:pPr marL="182880" indent="-182880" algn="l" defTabSz="914400">
                        <a:buClr>
                          <a:srgbClr val="000000"/>
                        </a:buClr>
                        <a:buFont typeface="Arial"/>
                        <a:buChar char="•"/>
                      </a:pPr>
                      <a:r>
                        <a:rPr lang="ru-RU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ＭＳ Ｐゴシック"/>
                          <a:cs typeface="Arial"/>
                        </a:rPr>
                        <a:t>Бесшовная и интегрированная серия редукторов для стандартных и серво-моторов</a:t>
                      </a:r>
                      <a:endParaRPr lang="en-US" sz="1600" b="0" i="0" u="none" strike="noStrike" cap="none" baseline="0" dirty="0"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/>
                        <a:cs typeface="Arial"/>
                      </a:endParaRPr>
                    </a:p>
                  </a:txBody>
                  <a:tcPr marL="108000" marR="108000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dirty="0" smtClean="0">
                          <a:solidFill>
                            <a:srgbClr val="41AAAA"/>
                          </a:solidFill>
                          <a:latin typeface="+mn-lt"/>
                          <a:ea typeface="+mn-ea"/>
                          <a:cs typeface="+mn-cs"/>
                          <a:sym typeface="Wingdings 3"/>
                        </a:rPr>
                        <a:t></a:t>
                      </a:r>
                      <a:endParaRPr lang="en-US" sz="1600" b="0" i="0" dirty="0">
                        <a:solidFill>
                          <a:srgbClr val="41AAAA"/>
                        </a:solidFill>
                        <a:latin typeface="+mn-lt"/>
                        <a:ea typeface="+mn-ea"/>
                        <a:cs typeface="+mn-cs"/>
                        <a:sym typeface="Wingdings 3"/>
                      </a:endParaRPr>
                    </a:p>
                  </a:txBody>
                  <a:tcPr marL="108000" marR="108000" marT="54000" marB="540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46304" marR="0" lvl="1" indent="-146304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Tx/>
                        <a:buChar char="•"/>
                      </a:pPr>
                      <a:r>
                        <a:rPr lang="ru-RU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ＭＳ Ｐゴシック"/>
                          <a:cs typeface="Arial"/>
                        </a:rPr>
                        <a:t>Простота переключения между сервоприводом и стандартным мотор-редуктором</a:t>
                      </a:r>
                    </a:p>
                    <a:p>
                      <a:pPr marL="146304" marR="0" lvl="1" indent="-146304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Tx/>
                        <a:buChar char="•"/>
                      </a:pPr>
                      <a:r>
                        <a:rPr lang="ru-RU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Простой выбор между серво- и </a:t>
                      </a:r>
                      <a:r>
                        <a:rPr lang="ru-RU" altLang="de-DE" sz="1600" b="0" i="0" u="none" strike="noStrike" cap="none" baseline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стандартными мотор-редукторами</a:t>
                      </a:r>
                      <a:endParaRPr lang="en-US" altLang="de-DE" sz="1600" b="0" i="0" u="none" strike="noStrike" cap="none" baseline="0" dirty="0"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/>
                        <a:cs typeface="Arial"/>
                      </a:endParaRPr>
                    </a:p>
                  </a:txBody>
                  <a:tcPr marL="108000" marR="108000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717021">
                <a:tc>
                  <a:txBody>
                    <a:bodyPr/>
                    <a:lstStyle/>
                    <a:p>
                      <a:pPr marL="146304" marR="0" lvl="1" indent="-146304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Tx/>
                        <a:buChar char="•"/>
                      </a:pPr>
                      <a:r>
                        <a:rPr lang="ru-RU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ＭＳ Ｐゴシック"/>
                          <a:cs typeface="Arial"/>
                        </a:rPr>
                        <a:t>Вал и фланец совместимы с нашими основными конкурентами</a:t>
                      </a:r>
                      <a:endParaRPr lang="en-US" altLang="de-DE" sz="1600" b="0" i="0" u="none" strike="noStrike" cap="none" baseline="0" dirty="0"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/>
                        <a:cs typeface="Arial"/>
                      </a:endParaRPr>
                    </a:p>
                  </a:txBody>
                  <a:tcPr marL="108000" marR="108000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dirty="0" smtClean="0">
                          <a:solidFill>
                            <a:srgbClr val="41AAAA"/>
                          </a:solidFill>
                          <a:latin typeface="+mn-lt"/>
                          <a:ea typeface="+mn-ea"/>
                          <a:cs typeface="+mn-cs"/>
                          <a:sym typeface="Wingdings 3"/>
                        </a:rPr>
                        <a:t></a:t>
                      </a:r>
                      <a:endParaRPr lang="en-US" sz="1600" b="0" i="0" dirty="0">
                        <a:solidFill>
                          <a:srgbClr val="41AAAA"/>
                        </a:solidFill>
                        <a:latin typeface="+mn-lt"/>
                        <a:ea typeface="+mn-ea"/>
                        <a:cs typeface="+mn-cs"/>
                        <a:sym typeface="Wingdings 3"/>
                      </a:endParaRPr>
                    </a:p>
                  </a:txBody>
                  <a:tcPr marL="108000" marR="108000" marT="54000" marB="540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46304" marR="0" lvl="1" indent="-146304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Tx/>
                        <a:buChar char="•"/>
                      </a:pPr>
                      <a:r>
                        <a:rPr lang="ru-RU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Упрощает переход на </a:t>
                      </a:r>
                      <a:r>
                        <a:rPr lang="en-US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Siemens</a:t>
                      </a:r>
                      <a:endParaRPr lang="en-US" altLang="de-DE" sz="1600" b="0" i="0" u="none" strike="noStrike" cap="none" baseline="0" dirty="0"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/>
                        <a:cs typeface="Arial"/>
                      </a:endParaRPr>
                    </a:p>
                  </a:txBody>
                  <a:tcPr marL="108000" marR="108000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pic>
        <p:nvPicPr>
          <p:cNvPr id="19" name="Picture 8" descr="D:\05.0-1FG1\g1-Unterlagen\Bilder\04_PNGs\I_DT_Gruppe_SIMOTICS_Servogetriebemotoren_Style_01_sRGB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01" t="8852" r="9655" b="18174"/>
          <a:stretch/>
        </p:blipFill>
        <p:spPr bwMode="auto">
          <a:xfrm>
            <a:off x="627064" y="2524574"/>
            <a:ext cx="3599903" cy="2848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7955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собенности максимально эффективного строения</a:t>
            </a:r>
            <a:endParaRPr lang="en-US" noProof="0" dirty="0"/>
          </a:p>
        </p:txBody>
      </p:sp>
      <p:sp>
        <p:nvSpPr>
          <p:cNvPr id="6" name="Inhaltsplatzhalter 3"/>
          <p:cNvSpPr txBox="1">
            <a:spLocks/>
          </p:cNvSpPr>
          <p:nvPr/>
        </p:nvSpPr>
        <p:spPr bwMode="auto">
          <a:xfrm>
            <a:off x="720042" y="1412875"/>
            <a:ext cx="1095098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 eaLnBrk="0" hangingPunct="0">
              <a:lnSpc>
                <a:spcPct val="110000"/>
              </a:lnSpc>
              <a:buClr>
                <a:schemeClr val="accent1"/>
              </a:buClr>
              <a:buFont typeface="Arial" charset="0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179388" indent="-1778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358775" indent="-1778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538163" indent="-1778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717550" indent="-1778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1174750" indent="-1778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1631950" indent="-1778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2089150" indent="-1778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2546350" indent="-1778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algn="l">
              <a:buNone/>
            </a:pPr>
            <a:r>
              <a:rPr lang="ru-RU" altLang="de-DE" b="1" i="0" dirty="0" smtClean="0">
                <a:latin typeface="Arial"/>
                <a:ea typeface="ＭＳ Ｐゴシック"/>
                <a:cs typeface="+mn-cs"/>
              </a:rPr>
              <a:t>Основные пункты</a:t>
            </a:r>
            <a:endParaRPr lang="en-US" altLang="de-DE" b="1" i="0" dirty="0">
              <a:latin typeface="Arial"/>
              <a:ea typeface="ＭＳ Ｐゴシック"/>
              <a:cs typeface="+mn-cs"/>
            </a:endParaRPr>
          </a:p>
        </p:txBody>
      </p:sp>
      <p:graphicFrame>
        <p:nvGraphicFramePr>
          <p:cNvPr id="7" name="Inhaltsplatzhalter 11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8184858"/>
              </p:ext>
            </p:extLst>
          </p:nvPr>
        </p:nvGraphicFramePr>
        <p:xfrm>
          <a:off x="4370388" y="1700212"/>
          <a:ext cx="7345362" cy="4666756"/>
        </p:xfrm>
        <a:graphic>
          <a:graphicData uri="http://schemas.openxmlformats.org/drawingml/2006/table">
            <a:tbl>
              <a:tblPr/>
              <a:tblGrid>
                <a:gridCol w="3456641"/>
                <a:gridCol w="432080"/>
                <a:gridCol w="3456641"/>
              </a:tblGrid>
              <a:tr h="433250">
                <a:tc>
                  <a:txBody>
                    <a:bodyPr/>
                    <a:lstStyle>
                      <a:lvl1pPr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742950" indent="-28575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altLang="de-DE" sz="16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Особенности</a:t>
                      </a:r>
                      <a:endParaRPr lang="en-US" altLang="de-DE" sz="1600" b="1" i="0" u="none" strike="noStrike" cap="none" baseline="0" dirty="0">
                        <a:solidFill>
                          <a:srgbClr val="FFFFFF"/>
                        </a:solidFill>
                        <a:effectLst/>
                        <a:latin typeface="Arial"/>
                        <a:ea typeface="ＭＳ Ｐゴシック"/>
                        <a:cs typeface="Arial"/>
                      </a:endParaRPr>
                    </a:p>
                  </a:txBody>
                  <a:tcPr marL="108000" marR="108000" marT="54000" marB="540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46E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742950" indent="-28575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de-DE" sz="1600" b="1" i="0" u="none" strike="noStrike" cap="none" normalizeH="0" baseline="0" noProof="0" dirty="0" smtClean="0">
                        <a:ln>
                          <a:noFill/>
                        </a:ln>
                        <a:solidFill>
                          <a:srgbClr val="AAB414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  <a:sym typeface="Wingdings" pitchFamily="2" charset="2"/>
                      </a:endParaRPr>
                    </a:p>
                  </a:txBody>
                  <a:tcPr marL="108000" marR="108000" marT="54000" marB="540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742950" indent="-28575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altLang="de-DE" sz="16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Преимущества</a:t>
                      </a:r>
                      <a:endParaRPr lang="en-US" altLang="de-DE" sz="1600" b="1" i="0" u="none" strike="noStrike" cap="none" baseline="0" dirty="0">
                        <a:solidFill>
                          <a:srgbClr val="FFFFFF"/>
                        </a:solidFill>
                        <a:effectLst/>
                        <a:latin typeface="Arial"/>
                        <a:ea typeface="ＭＳ Ｐゴシック"/>
                        <a:cs typeface="Arial"/>
                      </a:endParaRPr>
                    </a:p>
                  </a:txBody>
                  <a:tcPr marL="108000" marR="108000" marT="54000" marB="540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1AAAA"/>
                    </a:solidFill>
                  </a:tcPr>
                </a:tc>
              </a:tr>
              <a:tr h="1126082">
                <a:tc>
                  <a:txBody>
                    <a:bodyPr/>
                    <a:lstStyle>
                      <a:lvl1pPr marL="342900" indent="-3429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142875" indent="-142875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182880" marR="0" lvl="1" indent="-182880" algn="l" defTabSz="914400" rtl="0" eaLnBrk="0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ru-RU" sz="1600" b="0" i="0" u="none" strike="noStrike" kern="1200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Естественная вентиляция</a:t>
                      </a:r>
                      <a:endParaRPr lang="en-US" sz="1600" b="0" i="0" u="none" strike="noStrike" kern="1200" cap="none" baseline="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/>
                        <a:cs typeface="Arial"/>
                      </a:endParaRPr>
                    </a:p>
                  </a:txBody>
                  <a:tcPr marL="108000" marR="108000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342900" indent="-3429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lvl="1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dirty="0" smtClean="0">
                          <a:solidFill>
                            <a:srgbClr val="41AAAA"/>
                          </a:solidFill>
                          <a:latin typeface="+mn-lt"/>
                          <a:ea typeface="+mn-ea"/>
                          <a:cs typeface="+mn-cs"/>
                          <a:sym typeface="Wingdings 3"/>
                        </a:rPr>
                        <a:t></a:t>
                      </a:r>
                      <a:endParaRPr lang="en-US" sz="1600" b="0" i="0" dirty="0">
                        <a:solidFill>
                          <a:srgbClr val="41AAAA"/>
                        </a:solidFill>
                        <a:latin typeface="+mn-lt"/>
                        <a:ea typeface="+mn-ea"/>
                        <a:cs typeface="+mn-cs"/>
                        <a:sym typeface="Wingdings 3"/>
                      </a:endParaRPr>
                    </a:p>
                  </a:txBody>
                  <a:tcPr marL="108000" marR="108000" marT="54000" marB="540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342900" indent="-3429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142875" indent="-142875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182880" marR="0" lvl="1" indent="-18288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Char char="•"/>
                      </a:pPr>
                      <a:r>
                        <a:rPr lang="ru-RU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Высокий непрерывный крутящий момент даже на низких скоростях</a:t>
                      </a:r>
                    </a:p>
                    <a:p>
                      <a:pPr marL="182880" marR="0" lvl="1" indent="-18288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Char char="•"/>
                      </a:pPr>
                      <a:r>
                        <a:rPr lang="ru-RU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Отсутствие нарушений воздушного потока</a:t>
                      </a:r>
                      <a:endParaRPr lang="en-US" altLang="de-DE" sz="1600" b="0" i="0" u="none" strike="noStrike" cap="none" baseline="0" dirty="0"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/>
                        <a:cs typeface="Arial"/>
                      </a:endParaRPr>
                    </a:p>
                  </a:txBody>
                  <a:tcPr marL="108000" marR="108000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1780224">
                <a:tc>
                  <a:txBody>
                    <a:bodyPr/>
                    <a:lstStyle/>
                    <a:p>
                      <a:pPr marL="182880" marR="0" lvl="1" indent="-18288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Char char="•"/>
                      </a:pPr>
                      <a:r>
                        <a:rPr lang="ru-RU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ＭＳ Ｐゴシック"/>
                          <a:cs typeface="Arial"/>
                        </a:rPr>
                        <a:t>Две части единого целого (первой ступени редуктора)</a:t>
                      </a:r>
                    </a:p>
                  </a:txBody>
                  <a:tcPr marL="108000" marR="108000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dirty="0" smtClean="0">
                          <a:solidFill>
                            <a:srgbClr val="41AAAA"/>
                          </a:solidFill>
                          <a:latin typeface="+mn-lt"/>
                          <a:ea typeface="+mn-ea"/>
                          <a:cs typeface="+mn-cs"/>
                          <a:sym typeface="Wingdings 3"/>
                        </a:rPr>
                        <a:t></a:t>
                      </a:r>
                      <a:endParaRPr lang="en-US" sz="1600" b="0" i="0" dirty="0">
                        <a:solidFill>
                          <a:srgbClr val="41AAAA"/>
                        </a:solidFill>
                        <a:latin typeface="+mn-lt"/>
                        <a:ea typeface="+mn-ea"/>
                        <a:cs typeface="+mn-cs"/>
                        <a:sym typeface="Wingdings 3"/>
                      </a:endParaRPr>
                    </a:p>
                  </a:txBody>
                  <a:tcPr marL="108000" marR="108000" marT="54000" marB="540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0" lvl="1" indent="-18288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Char char="•"/>
                      </a:pPr>
                      <a:r>
                        <a:rPr lang="ru-RU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ＭＳ Ｐゴシック"/>
                          <a:cs typeface="Arial"/>
                        </a:rPr>
                        <a:t>Высокое соотношение на первом ступени, поэтому в некоторых случаях используется две ступени</a:t>
                      </a:r>
                    </a:p>
                    <a:p>
                      <a:pPr marL="182880" marR="0" lvl="1" indent="-18288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Char char="•"/>
                      </a:pPr>
                      <a:r>
                        <a:rPr lang="ru-RU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ＭＳ Ｐゴシック"/>
                          <a:cs typeface="Arial"/>
                        </a:rPr>
                        <a:t>с эффективностью, которая на 2% выше</a:t>
                      </a:r>
                      <a:endParaRPr lang="en-US" altLang="de-DE" sz="1600" b="0" i="0" u="none" strike="noStrike" cap="none" baseline="0" dirty="0"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/>
                        <a:cs typeface="Arial"/>
                      </a:endParaRPr>
                    </a:p>
                  </a:txBody>
                  <a:tcPr marL="108000" marR="108000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1126082">
                <a:tc>
                  <a:txBody>
                    <a:bodyPr/>
                    <a:lstStyle/>
                    <a:p>
                      <a:pPr marL="182880" marR="0" lvl="1" indent="-18288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Char char="•"/>
                      </a:pPr>
                      <a:r>
                        <a:rPr lang="ru-RU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Нет муфт между редуктором и серво-мотором</a:t>
                      </a:r>
                      <a:endParaRPr lang="en-US" altLang="de-DE" sz="1600" b="0" i="0" u="none" strike="noStrike" cap="none" baseline="0" dirty="0"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/>
                        <a:cs typeface="Arial"/>
                      </a:endParaRPr>
                    </a:p>
                  </a:txBody>
                  <a:tcPr marL="108000" marR="108000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600" b="0" i="0" dirty="0" smtClean="0">
                          <a:solidFill>
                            <a:srgbClr val="41AAAA"/>
                          </a:solidFill>
                          <a:latin typeface="+mn-lt"/>
                          <a:ea typeface="+mn-ea"/>
                          <a:cs typeface="+mn-cs"/>
                          <a:sym typeface="Wingdings 3"/>
                        </a:rPr>
                        <a:t></a:t>
                      </a:r>
                      <a:endParaRPr lang="en-US" sz="1600" b="0" i="0" dirty="0">
                        <a:solidFill>
                          <a:srgbClr val="41AAAA"/>
                        </a:solidFill>
                        <a:latin typeface="+mn-lt"/>
                        <a:ea typeface="+mn-ea"/>
                        <a:cs typeface="+mn-cs"/>
                        <a:sym typeface="Wingdings 3"/>
                      </a:endParaRPr>
                    </a:p>
                  </a:txBody>
                  <a:tcPr marL="108000" marR="108000" marT="54000" marB="5400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82880" marR="0" lvl="1" indent="-18288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  <a:buChar char="•"/>
                      </a:pPr>
                      <a:r>
                        <a:rPr lang="ru-RU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ＭＳ Ｐゴシック"/>
                          <a:cs typeface="Arial"/>
                        </a:rPr>
                        <a:t>Более высокая динамическая производительность и качество управления, так как нет связи муфтой</a:t>
                      </a:r>
                      <a:endParaRPr lang="en-US" altLang="de-DE" sz="1600" b="0" i="0" u="none" strike="noStrike" cap="none" baseline="0" dirty="0"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/>
                        <a:cs typeface="Arial"/>
                      </a:endParaRPr>
                    </a:p>
                  </a:txBody>
                  <a:tcPr marL="108000" marR="108000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pic>
        <p:nvPicPr>
          <p:cNvPr id="8" name="Picture 8" descr="D:\05.0-1FG1\g1-Unterlagen\Bilder\04_PNGs\I_DT_Gruppe_SIMOTICS_Servogetriebemotoren_Style_01_sRGB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01" t="8852" r="9655" b="18174"/>
          <a:stretch/>
        </p:blipFill>
        <p:spPr bwMode="auto">
          <a:xfrm>
            <a:off x="614167" y="1844824"/>
            <a:ext cx="3613346" cy="2859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3477" y="4910578"/>
            <a:ext cx="814466" cy="775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hteck 28"/>
          <p:cNvSpPr/>
          <p:nvPr/>
        </p:nvSpPr>
        <p:spPr>
          <a:xfrm>
            <a:off x="1710275" y="5642084"/>
            <a:ext cx="2517238" cy="523220"/>
          </a:xfrm>
          <a:prstGeom prst="rect">
            <a:avLst/>
          </a:prstGeom>
          <a:solidFill>
            <a:schemeClr val="bg1">
              <a:alpha val="43000"/>
            </a:schemeClr>
          </a:solidFill>
        </p:spPr>
        <p:txBody>
          <a:bodyPr wrap="square">
            <a:spAutoFit/>
          </a:bodyPr>
          <a:lstStyle/>
          <a:p>
            <a:pPr marL="0" lvl="1">
              <a:spcBef>
                <a:spcPts val="0"/>
              </a:spcBef>
            </a:pPr>
            <a:r>
              <a:rPr lang="ru-RU" altLang="de-DE" sz="1400" dirty="0" smtClean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Две части единого целого </a:t>
            </a:r>
          </a:p>
          <a:p>
            <a:pPr marL="0" lvl="1">
              <a:spcBef>
                <a:spcPts val="0"/>
              </a:spcBef>
            </a:pPr>
            <a:r>
              <a:rPr lang="ru-RU" altLang="de-DE" sz="1400" dirty="0" smtClean="0">
                <a:solidFill>
                  <a:srgbClr val="000000"/>
                </a:solidFill>
                <a:latin typeface="Arial"/>
                <a:ea typeface="ＭＳ Ｐゴシック"/>
                <a:cs typeface="Arial"/>
              </a:rPr>
              <a:t>(первой ступени редуктора)</a:t>
            </a:r>
            <a:endParaRPr lang="en-US" altLang="de-DE" sz="1400" dirty="0">
              <a:solidFill>
                <a:srgbClr val="000000"/>
              </a:solidFill>
              <a:latin typeface="Arial"/>
              <a:ea typeface="ＭＳ Ｐゴシック"/>
              <a:cs typeface="Arial"/>
            </a:endParaRPr>
          </a:p>
        </p:txBody>
      </p:sp>
      <p:sp>
        <p:nvSpPr>
          <p:cNvPr id="11" name="Ellipse 29"/>
          <p:cNvSpPr/>
          <p:nvPr/>
        </p:nvSpPr>
        <p:spPr bwMode="auto">
          <a:xfrm>
            <a:off x="1083876" y="5114208"/>
            <a:ext cx="475200" cy="288064"/>
          </a:xfrm>
          <a:prstGeom prst="ellipse">
            <a:avLst/>
          </a:prstGeom>
          <a:noFill/>
          <a:ln w="25400">
            <a:solidFill>
              <a:srgbClr val="AF235F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12" name="Rechteck 30"/>
          <p:cNvSpPr/>
          <p:nvPr/>
        </p:nvSpPr>
        <p:spPr>
          <a:xfrm>
            <a:off x="1757943" y="4899815"/>
            <a:ext cx="956856" cy="30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marL="0" lvl="1">
              <a:spcBef>
                <a:spcPct val="0"/>
              </a:spcBef>
              <a:buClr>
                <a:srgbClr val="879BAA"/>
              </a:buClr>
            </a:pPr>
            <a:r>
              <a:rPr lang="ru-RU" altLang="de-DE" sz="1400" b="1" dirty="0" smtClean="0">
                <a:solidFill>
                  <a:srgbClr val="AF235F"/>
                </a:solidFill>
                <a:latin typeface="Arial" charset="0"/>
                <a:ea typeface="ＭＳ Ｐゴシック" pitchFamily="34" charset="-128"/>
                <a:cs typeface="Arial" charset="0"/>
              </a:rPr>
              <a:t>Мотор</a:t>
            </a:r>
            <a:endParaRPr lang="en-US" altLang="de-DE" sz="1400" b="1" dirty="0">
              <a:solidFill>
                <a:srgbClr val="AF235F"/>
              </a:solidFill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sp>
        <p:nvSpPr>
          <p:cNvPr id="13" name="Rechteck 31"/>
          <p:cNvSpPr/>
          <p:nvPr/>
        </p:nvSpPr>
        <p:spPr>
          <a:xfrm>
            <a:off x="617610" y="5802597"/>
            <a:ext cx="809133" cy="246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marL="0" lvl="1">
              <a:spcBef>
                <a:spcPct val="0"/>
              </a:spcBef>
              <a:buClr>
                <a:srgbClr val="879BAA"/>
              </a:buClr>
            </a:pPr>
            <a:r>
              <a:rPr lang="ru-RU" altLang="de-DE" sz="1000" b="1" dirty="0" smtClean="0">
                <a:solidFill>
                  <a:srgbClr val="AF235F"/>
                </a:solidFill>
                <a:latin typeface="Arial" charset="0"/>
                <a:ea typeface="ＭＳ Ｐゴシック" pitchFamily="34" charset="-128"/>
                <a:cs typeface="Arial" charset="0"/>
              </a:rPr>
              <a:t>Редуктор</a:t>
            </a:r>
            <a:endParaRPr lang="en-US" altLang="de-DE" sz="1000" b="1" dirty="0">
              <a:solidFill>
                <a:srgbClr val="AF235F"/>
              </a:solidFill>
              <a:latin typeface="Arial" charset="0"/>
              <a:ea typeface="ＭＳ Ｐゴシック" pitchFamily="34" charset="-128"/>
              <a:cs typeface="Arial" charset="0"/>
            </a:endParaRPr>
          </a:p>
        </p:txBody>
      </p:sp>
      <p:cxnSp>
        <p:nvCxnSpPr>
          <p:cNvPr id="14" name="Gerade Verbindung 32"/>
          <p:cNvCxnSpPr/>
          <p:nvPr/>
        </p:nvCxnSpPr>
        <p:spPr bwMode="auto">
          <a:xfrm flipH="1">
            <a:off x="1674276" y="5052714"/>
            <a:ext cx="132801" cy="0"/>
          </a:xfrm>
          <a:prstGeom prst="line">
            <a:avLst/>
          </a:prstGeom>
          <a:solidFill>
            <a:schemeClr val="tx2"/>
          </a:solidFill>
          <a:ln w="28575" cap="sq" cmpd="sng" algn="ctr">
            <a:solidFill>
              <a:srgbClr val="AF235F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Gerade Verbindung 33"/>
          <p:cNvCxnSpPr>
            <a:endCxn id="13" idx="0"/>
          </p:cNvCxnSpPr>
          <p:nvPr/>
        </p:nvCxnSpPr>
        <p:spPr bwMode="auto">
          <a:xfrm flipH="1">
            <a:off x="1022177" y="5608800"/>
            <a:ext cx="112100" cy="193797"/>
          </a:xfrm>
          <a:prstGeom prst="line">
            <a:avLst/>
          </a:prstGeom>
          <a:solidFill>
            <a:schemeClr val="tx2"/>
          </a:solidFill>
          <a:ln w="28575" cap="sq" cmpd="sng" algn="ctr">
            <a:solidFill>
              <a:srgbClr val="AF235F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Gerade Verbindung 34"/>
          <p:cNvCxnSpPr/>
          <p:nvPr/>
        </p:nvCxnSpPr>
        <p:spPr bwMode="auto">
          <a:xfrm flipH="1" flipV="1">
            <a:off x="1415076" y="5402272"/>
            <a:ext cx="259201" cy="532746"/>
          </a:xfrm>
          <a:prstGeom prst="line">
            <a:avLst/>
          </a:prstGeom>
          <a:solidFill>
            <a:schemeClr val="tx2"/>
          </a:solidFill>
          <a:ln w="28575" cap="sq" cmpd="sng" algn="ctr">
            <a:solidFill>
              <a:srgbClr val="AF235F"/>
            </a:solidFill>
            <a:prstDash val="solid"/>
            <a:round/>
            <a:headEnd type="non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442878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ыдержка из технический данных </a:t>
            </a:r>
            <a:r>
              <a:rPr lang="ru-RU" dirty="0" smtClean="0"/>
              <a:t>для SIMOTICS </a:t>
            </a:r>
            <a:r>
              <a:rPr lang="ru-RU" dirty="0"/>
              <a:t>S-1FG1</a:t>
            </a:r>
            <a:endParaRPr lang="en-US" noProof="0" dirty="0"/>
          </a:p>
        </p:txBody>
      </p:sp>
      <p:sp>
        <p:nvSpPr>
          <p:cNvPr id="3" name="Inhaltsplatzhalter 3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627064" y="1412875"/>
            <a:ext cx="8208962" cy="431800"/>
          </a:xfrm>
          <a:prstGeom prst="rect">
            <a:avLst/>
          </a:prstGeom>
          <a:ln/>
        </p:spPr>
        <p:txBody>
          <a:bodyPr lIns="0" tIns="0" rIns="0" bIns="0"/>
          <a:lstStyle>
            <a:lvl1pPr marL="0" indent="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ru-RU" altLang="de-DE" b="1" kern="0" dirty="0" smtClean="0">
                <a:latin typeface="Arial" charset="0"/>
                <a:cs typeface="Arial" charset="0"/>
              </a:rPr>
              <a:t>Обзор</a:t>
            </a:r>
            <a:endParaRPr lang="en-US" altLang="de-DE" b="1" kern="0" dirty="0">
              <a:latin typeface="Arial" charset="0"/>
              <a:cs typeface="Arial" charset="0"/>
            </a:endParaRPr>
          </a:p>
        </p:txBody>
      </p:sp>
      <p:graphicFrame>
        <p:nvGraphicFramePr>
          <p:cNvPr id="4" name="cdtGroup 146 Id151698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5971684"/>
              </p:ext>
            </p:extLst>
          </p:nvPr>
        </p:nvGraphicFramePr>
        <p:xfrm>
          <a:off x="614835" y="1412875"/>
          <a:ext cx="11090273" cy="4846119"/>
        </p:xfrm>
        <a:graphic>
          <a:graphicData uri="http://schemas.openxmlformats.org/drawingml/2006/table">
            <a:tbl>
              <a:tblPr/>
              <a:tblGrid>
                <a:gridCol w="4249563"/>
                <a:gridCol w="6840710"/>
              </a:tblGrid>
              <a:tr h="360000">
                <a:tc>
                  <a:txBody>
                    <a:bodyPr/>
                    <a:lstStyle>
                      <a:lvl1pPr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tabLst>
                          <a:tab pos="3789363" algn="r"/>
                          <a:tab pos="5383213" algn="r"/>
                        </a:tabLst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742950" indent="-28575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tabLst>
                          <a:tab pos="3789363" algn="r"/>
                          <a:tab pos="5383213" algn="r"/>
                        </a:tabLst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tabLst>
                          <a:tab pos="3789363" algn="r"/>
                          <a:tab pos="5383213" algn="r"/>
                        </a:tabLst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tabLst>
                          <a:tab pos="3789363" algn="r"/>
                          <a:tab pos="5383213" algn="r"/>
                        </a:tabLst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tabLst>
                          <a:tab pos="3789363" algn="r"/>
                          <a:tab pos="5383213" algn="r"/>
                        </a:tabLst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tabLst>
                          <a:tab pos="3789363" algn="r"/>
                          <a:tab pos="5383213" algn="r"/>
                        </a:tabLst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tabLst>
                          <a:tab pos="3789363" algn="r"/>
                          <a:tab pos="5383213" algn="r"/>
                        </a:tabLst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tabLst>
                          <a:tab pos="3789363" algn="r"/>
                          <a:tab pos="5383213" algn="r"/>
                        </a:tabLst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tabLst>
                          <a:tab pos="3789363" algn="r"/>
                          <a:tab pos="5383213" algn="r"/>
                        </a:tabLst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endParaRPr kumimoji="0" lang="en-US" altLang="de-DE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44000" marR="144000" marT="36000" marB="36000" horzOverflow="overflow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tabLst>
                          <a:tab pos="3789363" algn="r"/>
                          <a:tab pos="5383213" algn="r"/>
                        </a:tabLst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742950" indent="-28575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tabLst>
                          <a:tab pos="3789363" algn="r"/>
                          <a:tab pos="5383213" algn="r"/>
                        </a:tabLst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tabLst>
                          <a:tab pos="3789363" algn="r"/>
                          <a:tab pos="5383213" algn="r"/>
                        </a:tabLst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tabLst>
                          <a:tab pos="3789363" algn="r"/>
                          <a:tab pos="5383213" algn="r"/>
                        </a:tabLst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tabLst>
                          <a:tab pos="3789363" algn="r"/>
                          <a:tab pos="5383213" algn="r"/>
                        </a:tabLst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tabLst>
                          <a:tab pos="3789363" algn="r"/>
                          <a:tab pos="5383213" algn="r"/>
                        </a:tabLst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tabLst>
                          <a:tab pos="3789363" algn="r"/>
                          <a:tab pos="5383213" algn="r"/>
                        </a:tabLst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tabLst>
                          <a:tab pos="3789363" algn="r"/>
                          <a:tab pos="5383213" algn="r"/>
                        </a:tabLst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tabLst>
                          <a:tab pos="3789363" algn="r"/>
                          <a:tab pos="5383213" algn="r"/>
                        </a:tabLst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r>
                        <a:rPr kumimoji="0" lang="ru-RU" altLang="de-DE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Характеристики</a:t>
                      </a:r>
                      <a:endParaRPr kumimoji="0" lang="en-US" altLang="de-DE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44000" marR="144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46E"/>
                    </a:solidFill>
                  </a:tcPr>
                </a:tc>
              </a:tr>
              <a:tr h="905591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6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Питающее напряжение</a:t>
                      </a:r>
                      <a:endParaRPr lang="en-US" sz="1600" b="1" i="0" u="none" strike="noStrike" cap="none" baseline="0" dirty="0">
                        <a:solidFill>
                          <a:srgbClr val="FFFFFF"/>
                        </a:solidFill>
                        <a:effectLst/>
                        <a:latin typeface="Arial"/>
                        <a:ea typeface="ＭＳ Ｐゴシック"/>
                        <a:cs typeface="+mn-cs"/>
                      </a:endParaRPr>
                    </a:p>
                  </a:txBody>
                  <a:tcPr marL="96050" marR="96050" marT="36000" marB="36000" horzOverflow="overflow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1AAAA"/>
                    </a:solidFill>
                  </a:tcPr>
                </a:tc>
                <a:tc>
                  <a:txBody>
                    <a:bodyPr/>
                    <a:lstStyle/>
                    <a:p>
                      <a:pPr marL="173736" marR="0" indent="-173736" algn="l" defTabSz="91440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ru-RU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от </a:t>
                      </a:r>
                      <a:r>
                        <a:rPr lang="en-US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SH 36 </a:t>
                      </a:r>
                      <a:r>
                        <a:rPr lang="ru-RU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до</a:t>
                      </a:r>
                      <a:r>
                        <a:rPr lang="en-US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 SH 100:</a:t>
                      </a:r>
                      <a:br>
                        <a:rPr lang="en-US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</a:br>
                      <a:r>
                        <a:rPr lang="en-US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3 AC 380 ...</a:t>
                      </a:r>
                      <a:r>
                        <a:rPr lang="en-US" sz="1400" b="0" i="0" u="none" strike="noStrike" cap="none" baseline="0" dirty="0" smtClean="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+mn-cs"/>
                        </a:rPr>
                        <a:t> </a:t>
                      </a:r>
                      <a:r>
                        <a:rPr lang="en-US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480 </a:t>
                      </a:r>
                      <a:r>
                        <a:rPr lang="ru-RU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В</a:t>
                      </a:r>
                      <a:r>
                        <a:rPr lang="en-US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 ± 10 %</a:t>
                      </a:r>
                    </a:p>
                    <a:p>
                      <a:pPr marL="173736" marR="0" indent="-173736" algn="l" defTabSz="91440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SH36 </a:t>
                      </a:r>
                      <a:r>
                        <a:rPr lang="ru-RU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и</a:t>
                      </a:r>
                      <a:r>
                        <a:rPr lang="en-US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 SH 48:</a:t>
                      </a:r>
                      <a:br>
                        <a:rPr lang="en-US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</a:br>
                      <a:r>
                        <a:rPr lang="en-US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1 AC 200 ...</a:t>
                      </a:r>
                      <a:r>
                        <a:rPr lang="en-US" sz="1400" b="0" i="0" u="none" strike="noStrike" cap="none" baseline="0" dirty="0" smtClean="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  <a:cs typeface="+mn-cs"/>
                        </a:rPr>
                        <a:t> </a:t>
                      </a:r>
                      <a:r>
                        <a:rPr lang="en-US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240 </a:t>
                      </a:r>
                      <a:r>
                        <a:rPr lang="ru-RU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В</a:t>
                      </a:r>
                      <a:r>
                        <a:rPr lang="en-US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 ± 10 %</a:t>
                      </a:r>
                      <a:endParaRPr lang="en-US" sz="1400" b="0" i="0" u="none" strike="noStrike" cap="none" baseline="0" dirty="0">
                        <a:solidFill>
                          <a:schemeClr val="dk1"/>
                        </a:solidFill>
                        <a:effectLst/>
                        <a:latin typeface="Arial"/>
                        <a:ea typeface="ＭＳ Ｐゴシック"/>
                        <a:cs typeface="+mn-cs"/>
                      </a:endParaRPr>
                    </a:p>
                  </a:txBody>
                  <a:tcPr marL="96050" marR="9605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282970">
                <a:tc>
                  <a:txBody>
                    <a:bodyPr/>
                    <a:lstStyle/>
                    <a:p>
                      <a:pPr marL="0" algn="l" defTabSz="914400">
                        <a:buNone/>
                      </a:pPr>
                      <a:r>
                        <a:rPr lang="ru-RU" sz="16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Номинальная мощность</a:t>
                      </a:r>
                      <a:endParaRPr lang="en-US" sz="1600" b="1" i="0" u="none" strike="noStrike" cap="none" baseline="0" dirty="0">
                        <a:solidFill>
                          <a:srgbClr val="FFFFFF"/>
                        </a:solidFill>
                        <a:effectLst/>
                        <a:latin typeface="Arial"/>
                        <a:ea typeface="ＭＳ Ｐゴシック"/>
                        <a:cs typeface="+mn-cs"/>
                      </a:endParaRPr>
                    </a:p>
                  </a:txBody>
                  <a:tcPr marL="96050" marR="96050" marT="36000" marB="36000" horzOverflow="overflow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1AAA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>
                        <a:buNone/>
                      </a:pPr>
                      <a:r>
                        <a:rPr lang="en-US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0</a:t>
                      </a:r>
                      <a:r>
                        <a:rPr lang="ru-RU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,</a:t>
                      </a:r>
                      <a:r>
                        <a:rPr lang="en-US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5 ... 7 </a:t>
                      </a:r>
                      <a:r>
                        <a:rPr lang="ru-RU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кВт</a:t>
                      </a:r>
                      <a:endParaRPr lang="en-US" sz="1400" b="0" i="0" u="none" strike="noStrike" cap="none" baseline="0" dirty="0">
                        <a:solidFill>
                          <a:schemeClr val="dk1"/>
                        </a:solidFill>
                        <a:effectLst/>
                        <a:latin typeface="Arial"/>
                        <a:ea typeface="ＭＳ Ｐゴシック"/>
                        <a:cs typeface="+mn-cs"/>
                      </a:endParaRPr>
                    </a:p>
                  </a:txBody>
                  <a:tcPr marL="96050" marR="9605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304817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6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Тип мотора</a:t>
                      </a:r>
                      <a:endParaRPr lang="en-US" sz="1600" b="1" i="0" u="none" strike="noStrike" cap="none" baseline="0" dirty="0">
                        <a:solidFill>
                          <a:srgbClr val="FFFFFF"/>
                        </a:solidFill>
                        <a:effectLst/>
                        <a:latin typeface="Arial"/>
                        <a:ea typeface="ＭＳ Ｐゴシック"/>
                        <a:cs typeface="+mn-cs"/>
                      </a:endParaRPr>
                    </a:p>
                  </a:txBody>
                  <a:tcPr marL="96050" marR="96050" marT="36000" marB="36000" horzOverflow="overflow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1A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Синхронный мотор с постоянными магнитами</a:t>
                      </a:r>
                      <a:endParaRPr lang="en-US" sz="1400" b="0" i="0" u="none" strike="noStrike" cap="none" baseline="0" dirty="0">
                        <a:solidFill>
                          <a:schemeClr val="dk1"/>
                        </a:solidFill>
                        <a:effectLst/>
                        <a:latin typeface="Arial"/>
                        <a:ea typeface="ＭＳ Ｐゴシック"/>
                        <a:cs typeface="+mn-cs"/>
                      </a:endParaRPr>
                    </a:p>
                  </a:txBody>
                  <a:tcPr marL="96050" marR="9605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304817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6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Охлаждение</a:t>
                      </a:r>
                      <a:endParaRPr lang="en-US" sz="1600" b="1" i="0" u="none" strike="noStrike" cap="none" baseline="0" dirty="0">
                        <a:solidFill>
                          <a:srgbClr val="FFFFFF"/>
                        </a:solidFill>
                        <a:effectLst/>
                        <a:latin typeface="Arial"/>
                        <a:ea typeface="ＭＳ Ｐゴシック"/>
                        <a:cs typeface="+mn-cs"/>
                      </a:endParaRPr>
                    </a:p>
                  </a:txBody>
                  <a:tcPr marL="96050" marR="96050" marT="36000" marB="36000" horzOverflow="overflow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1A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Естественное охлаждение</a:t>
                      </a:r>
                      <a:endParaRPr lang="en-US" sz="1400" b="0" i="0" u="none" strike="noStrike" cap="none" baseline="0" dirty="0">
                        <a:solidFill>
                          <a:schemeClr val="dk1"/>
                        </a:solidFill>
                        <a:effectLst/>
                        <a:latin typeface="Arial"/>
                        <a:ea typeface="ＭＳ Ｐゴシック"/>
                        <a:cs typeface="+mn-cs"/>
                      </a:endParaRPr>
                    </a:p>
                  </a:txBody>
                  <a:tcPr marL="96050" marR="9605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485049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6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Температура окружающей среды</a:t>
                      </a:r>
                      <a:endParaRPr lang="en-US" sz="1600" b="1" i="0" u="none" strike="noStrike" cap="none" baseline="0" dirty="0">
                        <a:solidFill>
                          <a:srgbClr val="FFFFFF"/>
                        </a:solidFill>
                        <a:effectLst/>
                        <a:latin typeface="Arial"/>
                        <a:ea typeface="ＭＳ Ｐゴシック"/>
                        <a:cs typeface="+mn-cs"/>
                      </a:endParaRPr>
                    </a:p>
                  </a:txBody>
                  <a:tcPr marL="96050" marR="96050" marT="36000" marB="36000" horzOverflow="overflow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1AAAA"/>
                    </a:solidFill>
                  </a:tcPr>
                </a:tc>
                <a:tc>
                  <a:txBody>
                    <a:bodyPr/>
                    <a:lstStyle/>
                    <a:p>
                      <a:pPr marL="173736" marR="0" indent="-173736" algn="l" defTabSz="91440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ru-RU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До </a:t>
                      </a:r>
                      <a:r>
                        <a:rPr lang="en-US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40 °C </a:t>
                      </a:r>
                      <a:r>
                        <a:rPr lang="ru-RU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для установки высотой </a:t>
                      </a:r>
                      <a:r>
                        <a:rPr lang="en-US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 ≤ 1000 m.</a:t>
                      </a:r>
                    </a:p>
                    <a:p>
                      <a:pPr marL="173736" marR="0" indent="-173736" algn="l" defTabSz="91440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ru-RU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Для </a:t>
                      </a:r>
                      <a:r>
                        <a:rPr lang="ru-RU" sz="1400" b="0" i="0" u="none" strike="noStrike" cap="none" baseline="0" dirty="0" err="1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разлийных</a:t>
                      </a:r>
                      <a:r>
                        <a:rPr lang="ru-RU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 применений используйте </a:t>
                      </a:r>
                      <a:r>
                        <a:rPr lang="en-US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SIZER</a:t>
                      </a:r>
                      <a:endParaRPr lang="en-US" sz="1400" b="0" i="0" u="none" strike="noStrike" cap="none" baseline="0" dirty="0">
                        <a:solidFill>
                          <a:schemeClr val="dk1"/>
                        </a:solidFill>
                        <a:effectLst/>
                        <a:latin typeface="Arial"/>
                        <a:ea typeface="ＭＳ Ｐゴシック"/>
                        <a:cs typeface="+mn-cs"/>
                      </a:endParaRPr>
                    </a:p>
                  </a:txBody>
                  <a:tcPr marL="96050" marR="9605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545127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6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Температурный контроль и измерение</a:t>
                      </a:r>
                      <a:endParaRPr lang="en-US" sz="1600" b="1" i="0" u="none" strike="noStrike" cap="none" baseline="0" dirty="0">
                        <a:solidFill>
                          <a:srgbClr val="FFFFFF"/>
                        </a:solidFill>
                        <a:effectLst/>
                        <a:latin typeface="Arial"/>
                        <a:ea typeface="ＭＳ Ｐゴシック"/>
                        <a:cs typeface="+mn-cs"/>
                      </a:endParaRPr>
                    </a:p>
                  </a:txBody>
                  <a:tcPr marL="96050" marR="96050" marT="36000" marB="36000" horzOverflow="overflow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1A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ＭＳ Ｐゴシック"/>
                          <a:cs typeface="+mn-cs"/>
                        </a:rPr>
                        <a:t>Датчик температуры KTY84 встроен в обмотку статора. Для контроля и управления с обратной связью</a:t>
                      </a:r>
                      <a:endParaRPr lang="en-US" sz="1400" b="0" i="0" u="none" strike="noStrike" cap="none" baseline="0" dirty="0">
                        <a:solidFill>
                          <a:schemeClr val="dk1"/>
                        </a:solidFill>
                        <a:effectLst/>
                        <a:latin typeface="Arial"/>
                        <a:ea typeface="ＭＳ Ｐゴシック"/>
                        <a:cs typeface="+mn-cs"/>
                      </a:endParaRPr>
                    </a:p>
                  </a:txBody>
                  <a:tcPr marL="96050" marR="9605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304817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6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Изоляция обмоток</a:t>
                      </a:r>
                      <a:endParaRPr lang="en-US" sz="1600" b="1" i="0" u="none" strike="noStrike" cap="none" baseline="0" dirty="0">
                        <a:solidFill>
                          <a:srgbClr val="FFFFFF"/>
                        </a:solidFill>
                        <a:effectLst/>
                        <a:latin typeface="Arial"/>
                        <a:ea typeface="ＭＳ Ｐゴシック"/>
                        <a:cs typeface="+mn-cs"/>
                      </a:endParaRPr>
                    </a:p>
                  </a:txBody>
                  <a:tcPr marL="96050" marR="96050" marT="36000" marB="36000" horzOverflow="overflow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1A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Температурный класс </a:t>
                      </a:r>
                      <a:r>
                        <a:rPr lang="en-US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155 (F)</a:t>
                      </a:r>
                      <a:endParaRPr lang="en-US" sz="1400" b="0" i="0" u="none" strike="noStrike" cap="none" baseline="0" dirty="0">
                        <a:solidFill>
                          <a:schemeClr val="dk1"/>
                        </a:solidFill>
                        <a:effectLst/>
                        <a:latin typeface="Arial"/>
                        <a:ea typeface="ＭＳ Ｐゴシック"/>
                        <a:cs typeface="+mn-cs"/>
                      </a:endParaRPr>
                    </a:p>
                  </a:txBody>
                  <a:tcPr marL="96050" marR="9605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304817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6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Подключение</a:t>
                      </a:r>
                      <a:endParaRPr lang="en-US" sz="1600" b="1" i="0" u="none" strike="noStrike" cap="none" baseline="0" dirty="0">
                        <a:solidFill>
                          <a:srgbClr val="FFFFFF"/>
                        </a:solidFill>
                        <a:effectLst/>
                        <a:latin typeface="Arial"/>
                        <a:ea typeface="ＭＳ Ｐゴシック"/>
                        <a:cs typeface="+mn-cs"/>
                      </a:endParaRPr>
                    </a:p>
                  </a:txBody>
                  <a:tcPr marL="96050" marR="96050" marT="36000" marB="36000" horzOverflow="overflow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1A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Силовое и </a:t>
                      </a:r>
                      <a:r>
                        <a:rPr lang="ru-RU" sz="1400" b="0" i="0" u="none" strike="noStrike" cap="none" baseline="0" dirty="0" err="1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энкодера</a:t>
                      </a:r>
                      <a:r>
                        <a:rPr lang="ru-RU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 через коннектор</a:t>
                      </a:r>
                      <a:endParaRPr lang="en-US" sz="1400" b="0" i="0" u="none" strike="noStrike" cap="none" baseline="0" dirty="0">
                        <a:solidFill>
                          <a:schemeClr val="dk1"/>
                        </a:solidFill>
                        <a:effectLst/>
                        <a:latin typeface="Arial"/>
                        <a:ea typeface="ＭＳ Ｐゴシック"/>
                        <a:cs typeface="+mn-cs"/>
                      </a:endParaRPr>
                    </a:p>
                  </a:txBody>
                  <a:tcPr marL="96050" marR="9605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637974">
                <a:tc>
                  <a:txBody>
                    <a:bodyPr/>
                    <a:lstStyle/>
                    <a:p>
                      <a:pPr marL="0" marR="0" indent="0" algn="l" defTabSz="914400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6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Сертификация </a:t>
                      </a:r>
                      <a:r>
                        <a:rPr lang="en-US" sz="16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/ </a:t>
                      </a:r>
                      <a:r>
                        <a:rPr lang="ru-RU" sz="16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одобрения для</a:t>
                      </a:r>
                      <a:endParaRPr lang="en-US" sz="1600" b="1" i="0" u="none" strike="noStrike" cap="none" baseline="0" dirty="0">
                        <a:solidFill>
                          <a:srgbClr val="FFFFFF"/>
                        </a:solidFill>
                        <a:effectLst/>
                        <a:latin typeface="Arial"/>
                        <a:ea typeface="ＭＳ Ｐゴシック"/>
                        <a:cs typeface="+mn-cs"/>
                      </a:endParaRPr>
                    </a:p>
                  </a:txBody>
                  <a:tcPr marL="96050" marR="96050" marT="36000" marB="36000" horzOverflow="overflow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1AAAA"/>
                    </a:solidFill>
                  </a:tcPr>
                </a:tc>
                <a:tc>
                  <a:txBody>
                    <a:bodyPr/>
                    <a:lstStyle/>
                    <a:p>
                      <a:pPr marL="173736" indent="-173736" algn="l" defTabSz="914400"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400" b="0" i="0" u="none" strike="noStrike" cap="none" baseline="0" dirty="0" err="1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cURus</a:t>
                      </a:r>
                      <a:endParaRPr lang="en-US" sz="1400" b="0" i="0" u="none" strike="noStrike" cap="none" baseline="0" dirty="0" smtClean="0">
                        <a:solidFill>
                          <a:schemeClr val="dk1"/>
                        </a:solidFill>
                        <a:effectLst/>
                        <a:latin typeface="Arial"/>
                        <a:ea typeface="ＭＳ Ｐゴシック"/>
                        <a:cs typeface="+mn-cs"/>
                      </a:endParaRPr>
                    </a:p>
                    <a:p>
                      <a:pPr marL="173736" indent="-173736" algn="l" defTabSz="914400"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CE marking/</a:t>
                      </a:r>
                    </a:p>
                    <a:p>
                      <a:pPr marL="173736" indent="-173736" algn="l" defTabSz="914400">
                        <a:buClr>
                          <a:srgbClr val="FFFFFF"/>
                        </a:buClr>
                        <a:buFont typeface="Arial"/>
                        <a:buChar char="•"/>
                      </a:pPr>
                      <a:r>
                        <a:rPr lang="en-US" sz="1400" b="0" i="0" u="none" strike="noStrike" cap="none" baseline="0" dirty="0" smtClean="0">
                          <a:solidFill>
                            <a:schemeClr val="dk1"/>
                          </a:solidFill>
                          <a:effectLst/>
                          <a:latin typeface="Arial"/>
                          <a:ea typeface="ＭＳ Ｐゴシック"/>
                          <a:cs typeface="+mn-cs"/>
                        </a:rPr>
                        <a:t>EC Declaration of Conformity</a:t>
                      </a:r>
                      <a:endParaRPr lang="en-US" sz="1400" b="0" i="0" u="none" strike="noStrike" cap="none" baseline="0" dirty="0">
                        <a:solidFill>
                          <a:schemeClr val="dk1"/>
                        </a:solidFill>
                        <a:effectLst/>
                        <a:latin typeface="Arial"/>
                        <a:ea typeface="ＭＳ Ｐゴシック"/>
                        <a:cs typeface="+mn-cs"/>
                      </a:endParaRPr>
                    </a:p>
                  </a:txBody>
                  <a:tcPr marL="96050" marR="9605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64070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птимальный привод в отношении конструкции типа и номинальной мощности для каждого применения</a:t>
            </a:r>
            <a:endParaRPr lang="en-US" noProof="0" dirty="0"/>
          </a:p>
        </p:txBody>
      </p:sp>
      <p:graphicFrame>
        <p:nvGraphicFramePr>
          <p:cNvPr id="3" name="cdtGroup 146 Id151698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7365282"/>
              </p:ext>
            </p:extLst>
          </p:nvPr>
        </p:nvGraphicFramePr>
        <p:xfrm>
          <a:off x="625477" y="1484784"/>
          <a:ext cx="11088000" cy="4668627"/>
        </p:xfrm>
        <a:graphic>
          <a:graphicData uri="http://schemas.openxmlformats.org/drawingml/2006/table">
            <a:tbl>
              <a:tblPr/>
              <a:tblGrid>
                <a:gridCol w="2310000"/>
                <a:gridCol w="2194500"/>
                <a:gridCol w="2194500"/>
                <a:gridCol w="2194500"/>
                <a:gridCol w="2194500"/>
              </a:tblGrid>
              <a:tr h="956355">
                <a:tc>
                  <a:txBody>
                    <a:bodyPr/>
                    <a:lstStyle>
                      <a:lvl1pPr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tabLst>
                          <a:tab pos="3789363" algn="r"/>
                          <a:tab pos="5383213" algn="r"/>
                        </a:tabLst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742950" indent="-28575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tabLst>
                          <a:tab pos="3789363" algn="r"/>
                          <a:tab pos="5383213" algn="r"/>
                        </a:tabLst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tabLst>
                          <a:tab pos="3789363" algn="r"/>
                          <a:tab pos="5383213" algn="r"/>
                        </a:tabLst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tabLst>
                          <a:tab pos="3789363" algn="r"/>
                          <a:tab pos="5383213" algn="r"/>
                        </a:tabLst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tabLst>
                          <a:tab pos="3789363" algn="r"/>
                          <a:tab pos="5383213" algn="r"/>
                        </a:tabLst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tabLst>
                          <a:tab pos="3789363" algn="r"/>
                          <a:tab pos="5383213" algn="r"/>
                        </a:tabLst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tabLst>
                          <a:tab pos="3789363" algn="r"/>
                          <a:tab pos="5383213" algn="r"/>
                        </a:tabLst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tabLst>
                          <a:tab pos="3789363" algn="r"/>
                          <a:tab pos="5383213" algn="r"/>
                        </a:tabLst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tabLst>
                          <a:tab pos="3789363" algn="r"/>
                          <a:tab pos="5383213" algn="r"/>
                        </a:tabLst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>
                          <a:tab pos="3789363" algn="r"/>
                          <a:tab pos="5383213" algn="r"/>
                        </a:tabLst>
                      </a:pPr>
                      <a:endParaRPr kumimoji="0" lang="en-US" altLang="de-DE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44000" marR="144000" marT="36000" marB="3600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1588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74625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347663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520700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9779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14351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18923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23495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indent="0" algn="ctr" defTabSz="832104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Цилиндрический</a:t>
                      </a:r>
                      <a:endParaRPr lang="en-US" altLang="en-US" sz="1400" b="1" i="0" u="none" strike="noStrike" cap="none" baseline="0" dirty="0" smtClean="0">
                        <a:solidFill>
                          <a:srgbClr val="FFFFFF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marR="0" indent="0" algn="ctr" defTabSz="832104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 </a:t>
                      </a:r>
                      <a:r>
                        <a:rPr lang="ru-RU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ступени</a:t>
                      </a:r>
                      <a:r>
                        <a:rPr lang="en-US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(Z)</a:t>
                      </a:r>
                    </a:p>
                    <a:p>
                      <a:pPr marL="0" marR="0" indent="0" algn="ctr" defTabSz="832104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3 </a:t>
                      </a:r>
                      <a:r>
                        <a:rPr lang="ru-RU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ступени</a:t>
                      </a:r>
                      <a:r>
                        <a:rPr lang="en-US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(D)</a:t>
                      </a:r>
                      <a:endParaRPr lang="en-US" altLang="en-US" sz="1400" b="1" i="0" u="none" strike="noStrike" cap="none" baseline="0" dirty="0">
                        <a:solidFill>
                          <a:srgbClr val="FFFFFF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72038" marR="0" marT="35996" marB="3599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46E"/>
                    </a:solidFill>
                  </a:tcPr>
                </a:tc>
                <a:tc>
                  <a:txBody>
                    <a:bodyPr/>
                    <a:lstStyle>
                      <a:lvl1pPr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1588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74625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347663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520700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9779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14351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18923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23495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indent="0" algn="ctr" defTabSz="832104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Плоский</a:t>
                      </a:r>
                      <a:endParaRPr lang="en-US" altLang="en-US" sz="1400" b="1" i="0" u="none" strike="noStrike" cap="none" baseline="0" dirty="0" smtClean="0">
                        <a:solidFill>
                          <a:srgbClr val="FFFFFF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marR="0" indent="0" algn="ctr" defTabSz="832104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 </a:t>
                      </a:r>
                      <a:r>
                        <a:rPr lang="ru-RU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ступени</a:t>
                      </a:r>
                      <a:r>
                        <a:rPr lang="en-US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(FZ)</a:t>
                      </a:r>
                    </a:p>
                    <a:p>
                      <a:pPr marL="0" marR="0" indent="0" algn="ctr" defTabSz="832104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3 </a:t>
                      </a:r>
                      <a:r>
                        <a:rPr lang="ru-RU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ступени</a:t>
                      </a:r>
                      <a:r>
                        <a:rPr lang="en-US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(FD</a:t>
                      </a:r>
                      <a:endParaRPr kumimoji="0" lang="en-US" alt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72038" marR="0" marT="35996" marB="3599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46E"/>
                    </a:solidFill>
                  </a:tcPr>
                </a:tc>
                <a:tc>
                  <a:txBody>
                    <a:bodyPr/>
                    <a:lstStyle>
                      <a:lvl1pPr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1588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74625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347663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520700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9779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14351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18923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23495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indent="0" algn="ctr" defTabSz="832104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Конический</a:t>
                      </a:r>
                      <a:endParaRPr lang="en-US" altLang="en-US" sz="1400" b="1" i="0" u="none" strike="noStrike" cap="none" baseline="0" dirty="0" smtClean="0">
                        <a:solidFill>
                          <a:srgbClr val="FFFFFF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marR="0" indent="0" algn="ctr" defTabSz="832104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 </a:t>
                      </a:r>
                      <a:r>
                        <a:rPr lang="ru-RU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ступени</a:t>
                      </a:r>
                      <a:r>
                        <a:rPr lang="en-US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(B)</a:t>
                      </a:r>
                    </a:p>
                    <a:p>
                      <a:pPr marL="0" marR="0" indent="0" algn="ctr" defTabSz="832104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3 </a:t>
                      </a:r>
                      <a:r>
                        <a:rPr lang="ru-RU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ступени </a:t>
                      </a:r>
                      <a:r>
                        <a:rPr lang="en-US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(K)</a:t>
                      </a:r>
                      <a:endParaRPr lang="en-US" altLang="en-US" sz="1400" b="1" i="0" u="none" strike="noStrike" cap="none" baseline="0" dirty="0">
                        <a:solidFill>
                          <a:srgbClr val="FFFFFF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72038" marR="0" marT="35996" marB="3599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46E"/>
                    </a:solidFill>
                  </a:tcPr>
                </a:tc>
                <a:tc>
                  <a:txBody>
                    <a:bodyPr/>
                    <a:lstStyle>
                      <a:lvl1pPr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1588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74625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347663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520700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9779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14351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18923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23495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indent="0" algn="ctr" defTabSz="832104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Червячный</a:t>
                      </a:r>
                      <a:endParaRPr lang="en-US" altLang="en-US" sz="1400" b="1" i="0" u="none" strike="noStrike" cap="none" baseline="0" dirty="0" smtClean="0">
                        <a:solidFill>
                          <a:srgbClr val="FFFFFF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marR="0" indent="0" algn="ctr" defTabSz="832104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2 </a:t>
                      </a:r>
                      <a:r>
                        <a:rPr lang="ru-RU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ступени</a:t>
                      </a:r>
                      <a:r>
                        <a:rPr lang="en-US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(C)</a:t>
                      </a:r>
                      <a:endParaRPr lang="en-US" altLang="en-US" sz="1400" b="1" i="0" u="none" strike="noStrike" cap="none" baseline="0" dirty="0">
                        <a:solidFill>
                          <a:srgbClr val="FFFFFF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72038" marR="0" marT="35996" marB="3599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46E"/>
                    </a:solidFill>
                  </a:tcPr>
                </a:tc>
              </a:tr>
              <a:tr h="720000">
                <a:tc>
                  <a:txBody>
                    <a:bodyPr/>
                    <a:lstStyle/>
                    <a:p>
                      <a:pPr marL="0" marR="0" indent="0" algn="ctr" defTabSz="832104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Серво-мотор-</a:t>
                      </a:r>
                    </a:p>
                    <a:p>
                      <a:pPr marL="0" marR="0" indent="0" algn="ctr" defTabSz="832104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редукторы</a:t>
                      </a:r>
                      <a:endParaRPr lang="en-US" altLang="en-US" sz="1400" b="1" i="0" u="none" strike="noStrike" cap="none" baseline="0" dirty="0">
                        <a:solidFill>
                          <a:srgbClr val="FFFFFF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72038" marR="0" marT="35996" marB="35996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1A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38" marR="0" marT="35996" marB="3599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38" marR="0" marT="35996" marB="3599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US" altLang="en-US" sz="14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72038" marR="0" marT="35996" marB="3599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US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38" marR="0" marT="35996" marB="3599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468000">
                <a:tc>
                  <a:txBody>
                    <a:bodyPr/>
                    <a:lstStyle>
                      <a:lvl1pPr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1588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74625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347663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520700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9779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14351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18923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23495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indent="0" algn="ctr" defTabSz="832104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Designation</a:t>
                      </a:r>
                      <a:endParaRPr lang="en-US" altLang="en-US" sz="1400" b="1" i="0" u="none" strike="noStrike" cap="none" baseline="0" dirty="0">
                        <a:solidFill>
                          <a:srgbClr val="FFFFFF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72038" marR="0" marT="35996" marB="35996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1AAAA"/>
                    </a:solidFill>
                  </a:tcPr>
                </a:tc>
                <a:tc>
                  <a:txBody>
                    <a:bodyPr/>
                    <a:lstStyle>
                      <a:lvl1pPr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1588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74625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347663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520700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9779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14351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18923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23495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Z29…Z129 </a:t>
                      </a:r>
                      <a:b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29…D129</a:t>
                      </a:r>
                    </a:p>
                  </a:txBody>
                  <a:tcPr marL="72038" marR="0" marT="35996" marB="3599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1588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74625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347663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520700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9779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14351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18923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23495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FZ29…FZ129 FD29…FD129</a:t>
                      </a:r>
                    </a:p>
                  </a:txBody>
                  <a:tcPr marL="72038" marR="0" marT="35996" marB="3599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1588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74625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347663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520700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9779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14351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18923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23495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B29…B49</a:t>
                      </a:r>
                    </a:p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en-US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K39…K149 </a:t>
                      </a:r>
                    </a:p>
                  </a:txBody>
                  <a:tcPr marL="72038" marR="0" marT="35996" marB="3599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1588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74625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347663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520700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9779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14351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18923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23495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C29…C89</a:t>
                      </a:r>
                    </a:p>
                  </a:txBody>
                  <a:tcPr marL="72038" marR="0" marT="35996" marB="3599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468000">
                <a:tc>
                  <a:txBody>
                    <a:bodyPr/>
                    <a:lstStyle>
                      <a:lvl1pPr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1588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74625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347663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520700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9779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14351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18923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23495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indent="0" algn="ctr" defTabSz="832104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Типоразмер</a:t>
                      </a:r>
                      <a:endParaRPr lang="en-US" altLang="en-US" sz="1400" b="1" i="0" u="none" strike="noStrike" cap="none" baseline="0" dirty="0">
                        <a:solidFill>
                          <a:srgbClr val="FFFFFF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72038" marR="0" marT="35996" marB="35996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1AAAA"/>
                    </a:solidFill>
                  </a:tcPr>
                </a:tc>
                <a:tc>
                  <a:txBody>
                    <a:bodyPr/>
                    <a:lstStyle>
                      <a:lvl1pPr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1588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74625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347663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520700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9779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14351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18923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23495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9</a:t>
                      </a:r>
                    </a:p>
                  </a:txBody>
                  <a:tcPr marL="72038" marR="0" marT="35996" marB="3599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1588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74625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347663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520700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9779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14351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18923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23495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</a:t>
                      </a:r>
                    </a:p>
                  </a:txBody>
                  <a:tcPr marL="72038" marR="0" marT="35996" marB="3599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1588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74625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347663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520700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9779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14351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18923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23495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 (B)</a:t>
                      </a:r>
                    </a:p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9 (K)</a:t>
                      </a:r>
                    </a:p>
                  </a:txBody>
                  <a:tcPr marL="72038" marR="0" marT="35996" marB="3599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1588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74625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347663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520700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9779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14351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18923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23495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5</a:t>
                      </a:r>
                    </a:p>
                  </a:txBody>
                  <a:tcPr marL="72038" marR="0" marT="35996" marB="3599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468000">
                <a:tc>
                  <a:txBody>
                    <a:bodyPr/>
                    <a:lstStyle>
                      <a:lvl1pPr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1588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74625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347663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520700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9779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14351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18923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23495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indent="0" algn="ctr" defTabSz="832104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Макс. выходной момент</a:t>
                      </a:r>
                      <a:r>
                        <a:rPr lang="en-US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 [</a:t>
                      </a:r>
                      <a:r>
                        <a:rPr lang="ru-RU" altLang="en-US" sz="1400" b="1" i="0" u="none" strike="noStrike" cap="none" baseline="0" dirty="0" err="1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Нм</a:t>
                      </a:r>
                      <a:r>
                        <a:rPr lang="en-US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]</a:t>
                      </a:r>
                      <a:endParaRPr lang="en-US" altLang="en-US" sz="1400" b="1" i="0" u="none" strike="noStrike" cap="none" baseline="0" dirty="0">
                        <a:solidFill>
                          <a:srgbClr val="FFFFFF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72038" marR="0" marT="35996" marB="35996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1AAAA"/>
                    </a:solidFill>
                  </a:tcPr>
                </a:tc>
                <a:tc>
                  <a:txBody>
                    <a:bodyPr/>
                    <a:lstStyle>
                      <a:lvl1pPr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1588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74625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347663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520700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9779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14351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18923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23495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4 … 5.200 (Z)</a:t>
                      </a:r>
                      <a:b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46 … 5.000 (D)</a:t>
                      </a:r>
                    </a:p>
                  </a:txBody>
                  <a:tcPr marL="72038" marR="0" marT="35996" marB="3599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1588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74625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347663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520700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9779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14351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18923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23495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7 … 5.140 (Z)</a:t>
                      </a:r>
                      <a:b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63 … 5.010 (D)</a:t>
                      </a:r>
                    </a:p>
                  </a:txBody>
                  <a:tcPr marL="72038" marR="0" marT="35996" marB="3599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1588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74625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347663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520700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9779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14351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18923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23495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5 … 465 (B)</a:t>
                      </a:r>
                    </a:p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24 … 8.160</a:t>
                      </a:r>
                      <a:r>
                        <a:rPr kumimoji="0" lang="en-US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 (K)</a:t>
                      </a:r>
                      <a:endParaRPr lang="en-US" sz="1400" dirty="0" smtClean="0"/>
                    </a:p>
                  </a:txBody>
                  <a:tcPr marL="72038" marR="0" marT="35996" marB="3599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1588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74625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347663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520700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9779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14351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18923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23495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6 … 1480</a:t>
                      </a:r>
                    </a:p>
                  </a:txBody>
                  <a:tcPr marL="72038" marR="0" marT="35996" marB="3599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468000">
                <a:tc>
                  <a:txBody>
                    <a:bodyPr/>
                    <a:lstStyle>
                      <a:lvl1pPr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1588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74625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347663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520700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9779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14351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18923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23495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indent="0" algn="ctr" defTabSz="832104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Диапазон передаточных чисел</a:t>
                      </a:r>
                      <a:endParaRPr lang="en-US" altLang="en-US" sz="1400" b="1" i="0" u="none" strike="noStrike" cap="none" baseline="0" dirty="0">
                        <a:solidFill>
                          <a:srgbClr val="FFFFFF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72038" marR="0" marT="35996" marB="35996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1AAAA"/>
                    </a:solidFill>
                  </a:tcPr>
                </a:tc>
                <a:tc>
                  <a:txBody>
                    <a:bodyPr/>
                    <a:lstStyle>
                      <a:lvl1pPr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1588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74625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347663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520700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9779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14351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18923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23495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,4...62,5 (Z)</a:t>
                      </a:r>
                    </a:p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9,3 … 373 (D)</a:t>
                      </a:r>
                    </a:p>
                  </a:txBody>
                  <a:tcPr marL="72038" marR="0" marT="35996" marB="3599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1588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74625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347663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520700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9779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14351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18923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23495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,6 … 70,7 (Z)</a:t>
                      </a:r>
                    </a:p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6,4 … 413 (D)</a:t>
                      </a:r>
                    </a:p>
                  </a:txBody>
                  <a:tcPr marL="72038" marR="0" marT="35996" marB="3599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1588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74625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347663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520700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9779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14351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18923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23495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,5 … 59,3 (B)</a:t>
                      </a:r>
                    </a:p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5,2 … 244,3 (K)</a:t>
                      </a:r>
                      <a:endParaRPr lang="en-US" sz="1400" dirty="0" smtClean="0"/>
                    </a:p>
                  </a:txBody>
                  <a:tcPr marL="72038" marR="0" marT="35996" marB="3599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1588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74625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347663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520700" defTabSz="831850">
                        <a:lnSpc>
                          <a:spcPct val="110000"/>
                        </a:lnSpc>
                        <a:spcBef>
                          <a:spcPct val="25000"/>
                        </a:spcBef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9779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14351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18923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2349500" defTabSz="831850" fontAlgn="base">
                        <a:lnSpc>
                          <a:spcPct val="110000"/>
                        </a:lnSpc>
                        <a:spcBef>
                          <a:spcPct val="25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,2 ... 102,5</a:t>
                      </a:r>
                    </a:p>
                  </a:txBody>
                  <a:tcPr marL="72038" marR="0" marT="35996" marB="3599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468000">
                <a:tc>
                  <a:txBody>
                    <a:bodyPr/>
                    <a:lstStyle/>
                    <a:p>
                      <a:pPr marL="0" marR="0" indent="0" algn="ctr" defTabSz="832104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Диапазон скоростей </a:t>
                      </a:r>
                      <a:r>
                        <a:rPr lang="en-US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[</a:t>
                      </a:r>
                      <a:r>
                        <a:rPr lang="ru-RU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об</a:t>
                      </a:r>
                      <a:r>
                        <a:rPr lang="en-US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/</a:t>
                      </a:r>
                      <a:r>
                        <a:rPr lang="ru-RU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мин</a:t>
                      </a:r>
                      <a:r>
                        <a:rPr lang="en-US" altLang="en-US" sz="14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]</a:t>
                      </a:r>
                      <a:endParaRPr lang="en-US" altLang="en-US" sz="1400" b="1" i="0" u="none" strike="noStrike" cap="none" baseline="0" dirty="0">
                        <a:solidFill>
                          <a:srgbClr val="FFFFFF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72038" marR="0" marT="35996" marB="35996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1A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2... 1.279 (Z)</a:t>
                      </a:r>
                    </a:p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 ... 114 (D)</a:t>
                      </a:r>
                    </a:p>
                  </a:txBody>
                  <a:tcPr marL="72038" marR="0" marT="35996" marB="3599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3... 1.218 (Z)</a:t>
                      </a:r>
                    </a:p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1 ... 97 (D)</a:t>
                      </a:r>
                    </a:p>
                  </a:txBody>
                  <a:tcPr marL="72038" marR="0" marT="35996" marB="3599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5 ... 1.254 (B)</a:t>
                      </a:r>
                    </a:p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4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8 ... 870 (K)</a:t>
                      </a:r>
                    </a:p>
                  </a:txBody>
                  <a:tcPr marL="72038" marR="0" marT="35996" marB="3599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4 ... 726</a:t>
                      </a:r>
                    </a:p>
                  </a:txBody>
                  <a:tcPr marL="72038" marR="0" marT="35996" marB="3599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468000">
                <a:tc>
                  <a:txBody>
                    <a:bodyPr/>
                    <a:lstStyle/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η</a:t>
                      </a:r>
                      <a:r>
                        <a:rPr kumimoji="0" lang="en-US" altLang="en-US" sz="1400" b="1" i="0" u="none" strike="noStrike" cap="none" normalizeH="0" baseline="-2500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gearbox</a:t>
                      </a:r>
                      <a:endParaRPr kumimoji="0" lang="en-US" altLang="en-US" sz="1400" b="1" i="0" u="none" strike="noStrike" cap="none" normalizeH="0" baseline="-2500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72038" marR="0" marT="35996" marB="35996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1AA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0,92…0,97 (Z)</a:t>
                      </a:r>
                    </a:p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0,86…0,93 (D)</a:t>
                      </a:r>
                    </a:p>
                  </a:txBody>
                  <a:tcPr marL="72038" marR="0" marT="35996" marB="3599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0,91…0,98 (Z)</a:t>
                      </a:r>
                    </a:p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0,85…0,94 (D)</a:t>
                      </a:r>
                    </a:p>
                  </a:txBody>
                  <a:tcPr marL="72038" marR="0" marT="35996" marB="3599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0,92…0,97 (B)</a:t>
                      </a:r>
                    </a:p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US" alt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0,88…0,97 (K)</a:t>
                      </a:r>
                    </a:p>
                  </a:txBody>
                  <a:tcPr marL="72038" marR="0" marT="35996" marB="3599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318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de-DE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cs typeface="Arial" charset="0"/>
                        </a:rPr>
                        <a:t>0,86</a:t>
                      </a:r>
                      <a:r>
                        <a:rPr kumimoji="0" lang="en-US" altLang="de-DE" sz="1400" b="0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</a:rPr>
                        <a:t>…0,93</a:t>
                      </a:r>
                      <a:endParaRPr kumimoji="0" lang="en-US" alt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72038" marR="0" marT="35996" marB="3599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pic>
        <p:nvPicPr>
          <p:cNvPr id="4" name="Grafik 4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0273" y="2492896"/>
            <a:ext cx="433024" cy="570197"/>
          </a:xfrm>
          <a:prstGeom prst="rect">
            <a:avLst/>
          </a:prstGeom>
        </p:spPr>
      </p:pic>
      <p:pic>
        <p:nvPicPr>
          <p:cNvPr id="5" name="Grafik 5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1320" y="2502725"/>
            <a:ext cx="433283" cy="564173"/>
          </a:xfrm>
          <a:prstGeom prst="rect">
            <a:avLst/>
          </a:prstGeom>
        </p:spPr>
      </p:pic>
      <p:pic>
        <p:nvPicPr>
          <p:cNvPr id="6" name="Grafik 7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01412" y="2501671"/>
            <a:ext cx="473431" cy="564818"/>
          </a:xfrm>
          <a:prstGeom prst="rect">
            <a:avLst/>
          </a:prstGeom>
        </p:spPr>
      </p:pic>
      <p:pic>
        <p:nvPicPr>
          <p:cNvPr id="7" name="Grafik 8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3294" y="2502725"/>
            <a:ext cx="453837" cy="564173"/>
          </a:xfrm>
          <a:prstGeom prst="rect">
            <a:avLst/>
          </a:prstGeom>
        </p:spPr>
      </p:pic>
      <p:sp>
        <p:nvSpPr>
          <p:cNvPr id="8" name="Textfeld 10"/>
          <p:cNvSpPr txBox="1"/>
          <p:nvPr/>
        </p:nvSpPr>
        <p:spPr>
          <a:xfrm>
            <a:off x="652101" y="1412875"/>
            <a:ext cx="2278722" cy="5416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ru-RU" sz="1600" b="1" dirty="0" smtClean="0">
                <a:solidFill>
                  <a:schemeClr val="tx1"/>
                </a:solidFill>
              </a:rPr>
              <a:t>Высота вала:</a:t>
            </a:r>
            <a:r>
              <a:rPr lang="en-US" sz="1600" b="1" dirty="0" smtClean="0">
                <a:solidFill>
                  <a:schemeClr val="tx1"/>
                </a:solidFill>
              </a:rPr>
              <a:t/>
            </a:r>
            <a:br>
              <a:rPr lang="en-US" sz="1600" b="1" dirty="0" smtClean="0">
                <a:solidFill>
                  <a:schemeClr val="tx1"/>
                </a:solidFill>
              </a:rPr>
            </a:br>
            <a:r>
              <a:rPr lang="en-US" sz="1600" b="1" dirty="0" smtClean="0">
                <a:solidFill>
                  <a:schemeClr val="tx1"/>
                </a:solidFill>
              </a:rPr>
              <a:t>36, 48, 63, 80 </a:t>
            </a:r>
            <a:r>
              <a:rPr lang="ru-RU" sz="1600" b="1" dirty="0" smtClean="0">
                <a:solidFill>
                  <a:schemeClr val="tx1"/>
                </a:solidFill>
              </a:rPr>
              <a:t>и </a:t>
            </a:r>
            <a:r>
              <a:rPr lang="en-US" sz="1600" b="1" dirty="0" smtClean="0">
                <a:solidFill>
                  <a:schemeClr val="tx1"/>
                </a:solidFill>
              </a:rPr>
              <a:t>100</a:t>
            </a:r>
            <a:endParaRPr lang="en-US" sz="1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843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2" name="cdtRectangle 4 Id109572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ru-RU" dirty="0" smtClean="0"/>
              <a:t>Спасибо за внимание!</a:t>
            </a:r>
            <a:endParaRPr lang="en-US" noProof="0" dirty="0" smtClean="0"/>
          </a:p>
        </p:txBody>
      </p:sp>
      <p:sp>
        <p:nvSpPr>
          <p:cNvPr id="8" name="cdtText Placeholder 7 Id8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b="1" dirty="0"/>
              <a:t>Alexander Nuzhdin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MC GMC Sales Specialist</a:t>
            </a:r>
            <a:br>
              <a:rPr lang="en-US" dirty="0"/>
            </a:br>
            <a:r>
              <a:rPr lang="en-US" dirty="0"/>
              <a:t>MC GMC / Department DF</a:t>
            </a:r>
          </a:p>
          <a:p>
            <a:r>
              <a:rPr lang="en-US" dirty="0" err="1"/>
              <a:t>Bolshaya</a:t>
            </a:r>
            <a:r>
              <a:rPr lang="en-US" dirty="0"/>
              <a:t> </a:t>
            </a:r>
            <a:r>
              <a:rPr lang="en-US" dirty="0" err="1"/>
              <a:t>Tatarskaya</a:t>
            </a:r>
            <a:r>
              <a:rPr lang="en-US" dirty="0"/>
              <a:t>, 9</a:t>
            </a:r>
            <a:br>
              <a:rPr lang="en-US" dirty="0"/>
            </a:br>
            <a:r>
              <a:rPr lang="en-US" dirty="0"/>
              <a:t>115184 Moscow</a:t>
            </a:r>
          </a:p>
          <a:p>
            <a:r>
              <a:rPr lang="en-US" dirty="0"/>
              <a:t/>
            </a:r>
            <a:br>
              <a:rPr lang="en-US" dirty="0"/>
            </a:br>
            <a:r>
              <a:rPr lang="en-US" dirty="0"/>
              <a:t>Mobile: +7 916 686 08 42</a:t>
            </a:r>
          </a:p>
          <a:p>
            <a:r>
              <a:rPr lang="en-US" dirty="0"/>
              <a:t>E-mail:</a:t>
            </a:r>
            <a:br>
              <a:rPr lang="en-US" dirty="0"/>
            </a:br>
            <a:r>
              <a:rPr lang="en-US" dirty="0">
                <a:hlinkClick r:id="rId9"/>
              </a:rPr>
              <a:t>alexander.nuzhdin@siemens.com</a:t>
            </a:r>
            <a:endParaRPr lang="en-US" dirty="0"/>
          </a:p>
        </p:txBody>
      </p:sp>
      <p:sp>
        <p:nvSpPr>
          <p:cNvPr id="5" name="cdtTextBox 4 Id5"/>
          <p:cNvSpPr txBox="1"/>
          <p:nvPr>
            <p:custDataLst>
              <p:tags r:id="rId4"/>
            </p:custDataLst>
          </p:nvPr>
        </p:nvSpPr>
        <p:spPr>
          <a:xfrm>
            <a:off x="4654550" y="5595946"/>
            <a:ext cx="7543800" cy="569904"/>
          </a:xfrm>
          <a:prstGeom prst="rect">
            <a:avLst/>
          </a:prstGeom>
          <a:noFill/>
        </p:spPr>
        <p:txBody>
          <a:bodyPr wrap="square" lIns="252000" tIns="0" rIns="180000" bIns="144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b="1" dirty="0" smtClean="0">
                <a:solidFill>
                  <a:srgbClr val="000000"/>
                </a:solidFill>
              </a:rPr>
              <a:t>siemens.com</a:t>
            </a:r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3" name="cdtTextBox 2 Id3"/>
          <p:cNvSpPr txBox="1"/>
          <p:nvPr>
            <p:custDataLst>
              <p:tags r:id="rId5"/>
            </p:custDataLst>
          </p:nvPr>
        </p:nvSpPr>
        <p:spPr>
          <a:xfrm rot="16200000">
            <a:off x="12198350" y="6165850"/>
            <a:ext cx="1588" cy="2118"/>
          </a:xfrm>
          <a:prstGeom prst="rect">
            <a:avLst/>
          </a:prstGeom>
          <a:noFill/>
        </p:spPr>
        <p:txBody>
          <a:bodyPr wrap="none" lIns="72000" tIns="0" rIns="0" bIns="36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600" dirty="0" smtClean="0">
              <a:solidFill>
                <a:srgbClr val="000000"/>
              </a:solidFill>
            </a:endParaRPr>
          </a:p>
        </p:txBody>
      </p:sp>
      <p:sp>
        <p:nvSpPr>
          <p:cNvPr id="13" name="cdtTextBox 2 Id13"/>
          <p:cNvSpPr txBox="1"/>
          <p:nvPr>
            <p:custDataLst>
              <p:tags r:id="rId6"/>
            </p:custDataLst>
          </p:nvPr>
        </p:nvSpPr>
        <p:spPr>
          <a:xfrm rot="16200000">
            <a:off x="12198350" y="6165850"/>
            <a:ext cx="1588" cy="1588"/>
          </a:xfrm>
          <a:prstGeom prst="rect">
            <a:avLst/>
          </a:prstGeom>
          <a:noFill/>
        </p:spPr>
        <p:txBody>
          <a:bodyPr wrap="none" lIns="72000" tIns="0" rIns="0" bIns="36000" rtlCol="0" anchor="b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endParaRPr lang="en-US" sz="600" dirty="0" smtClean="0">
              <a:solidFill>
                <a:srgbClr val="000000"/>
              </a:solidFill>
            </a:endParaRPr>
          </a:p>
        </p:txBody>
      </p:sp>
      <p:pic>
        <p:nvPicPr>
          <p:cNvPr id="4" name="Picture Placeholder 3"/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530" t="216" r="9654" b="1957"/>
          <a:stretch/>
        </p:blipFill>
        <p:spPr>
          <a:xfrm>
            <a:off x="0" y="1440000"/>
            <a:ext cx="4514400" cy="4760776"/>
          </a:xfr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00935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одержание</a:t>
            </a:r>
            <a:endParaRPr lang="en-US" dirty="0"/>
          </a:p>
        </p:txBody>
      </p:sp>
      <p:sp>
        <p:nvSpPr>
          <p:cNvPr id="4" name="Textfeld 3"/>
          <p:cNvSpPr txBox="1"/>
          <p:nvPr/>
        </p:nvSpPr>
        <p:spPr>
          <a:xfrm>
            <a:off x="627063" y="1464825"/>
            <a:ext cx="252000" cy="252000"/>
          </a:xfrm>
          <a:prstGeom prst="rect">
            <a:avLst/>
          </a:prstGeom>
          <a:solidFill>
            <a:srgbClr val="50BED7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200" b="1" dirty="0" smtClean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1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627063" y="1921188"/>
            <a:ext cx="252000" cy="252000"/>
          </a:xfrm>
          <a:prstGeom prst="rect">
            <a:avLst/>
          </a:prstGeom>
          <a:solidFill>
            <a:srgbClr val="50BED7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200" b="1" dirty="0" smtClean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2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627063" y="2377551"/>
            <a:ext cx="252000" cy="252000"/>
          </a:xfrm>
          <a:prstGeom prst="rect">
            <a:avLst/>
          </a:prstGeom>
          <a:solidFill>
            <a:srgbClr val="50BED7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200" b="1" dirty="0" smtClean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3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627063" y="2833914"/>
            <a:ext cx="252000" cy="252000"/>
          </a:xfrm>
          <a:prstGeom prst="rect">
            <a:avLst/>
          </a:prstGeom>
          <a:solidFill>
            <a:srgbClr val="50BED7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200" b="1" dirty="0" smtClean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4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627063" y="3290279"/>
            <a:ext cx="252000" cy="252000"/>
          </a:xfrm>
          <a:prstGeom prst="rect">
            <a:avLst/>
          </a:prstGeom>
          <a:solidFill>
            <a:srgbClr val="50BED7"/>
          </a:solidFill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ts val="0"/>
              </a:spcBef>
            </a:pPr>
            <a:r>
              <a:rPr lang="en-US" sz="1200" b="1" dirty="0" smtClean="0">
                <a:solidFill>
                  <a:schemeClr val="bg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5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1130623" y="1440000"/>
            <a:ext cx="4968552" cy="4752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</a:pPr>
            <a:r>
              <a:rPr lang="ru-RU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Совместимость и бесшовная </a:t>
            </a:r>
            <a:r>
              <a:rPr lang="ru-RU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интеграция</a:t>
            </a: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</a:pPr>
            <a:r>
              <a:rPr lang="ru-RU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Позиционирование </a:t>
            </a:r>
            <a:r>
              <a:rPr lang="en-US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IMOTICS</a:t>
            </a:r>
            <a:endParaRPr lang="ru-RU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</a:pPr>
            <a:r>
              <a:rPr lang="ru-RU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Позиционирование </a:t>
            </a:r>
            <a:r>
              <a:rPr lang="en-US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SIMOTICS</a:t>
            </a:r>
            <a:r>
              <a:rPr lang="ru-RU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en-US" dirty="0" smtClean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S-1FG1</a:t>
            </a:r>
            <a:endParaRPr lang="ru-RU" dirty="0">
              <a:solidFill>
                <a:schemeClr val="tx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</a:pPr>
            <a:r>
              <a:rPr lang="ru-RU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Сектора и применения, </a:t>
            </a:r>
            <a:r>
              <a:rPr lang="ru-RU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примеры</a:t>
            </a:r>
            <a:endParaRPr lang="en-US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</a:pPr>
            <a:r>
              <a:rPr lang="ru-RU" dirty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Системные аспекты</a:t>
            </a:r>
            <a:endParaRPr lang="en-US" dirty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12976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вместимость и бесшовная интеграция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370387" y="1412875"/>
            <a:ext cx="7345411" cy="4752975"/>
          </a:xfrm>
          <a:ln/>
        </p:spPr>
        <p:txBody>
          <a:bodyPr/>
          <a:lstStyle/>
          <a:p>
            <a: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altLang="de-DE" sz="1600" b="1" dirty="0" smtClean="0">
                <a:solidFill>
                  <a:schemeClr val="accent5"/>
                </a:solidFill>
                <a:latin typeface="Arial"/>
                <a:cs typeface="Arial"/>
              </a:rPr>
              <a:t>Требование рынка</a:t>
            </a:r>
            <a:r>
              <a:rPr lang="en-US" altLang="de-DE" sz="1600" b="1" i="0" dirty="0" smtClean="0">
                <a:solidFill>
                  <a:schemeClr val="accent5"/>
                </a:solidFill>
                <a:latin typeface="Arial"/>
                <a:cs typeface="Arial"/>
              </a:rPr>
              <a:t>:</a:t>
            </a:r>
          </a:p>
          <a:p>
            <a: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altLang="de-DE" sz="1600" b="0" i="0" dirty="0" smtClean="0">
                <a:solidFill>
                  <a:schemeClr val="dk1"/>
                </a:solidFill>
                <a:latin typeface="Arial"/>
                <a:cs typeface="Arial"/>
              </a:rPr>
              <a:t>Приемлемые по стоимости мотор-редукторы дл</a:t>
            </a:r>
            <a:r>
              <a:rPr lang="ru-RU" altLang="de-DE" sz="1600" dirty="0" smtClean="0">
                <a:solidFill>
                  <a:schemeClr val="dk1"/>
                </a:solidFill>
                <a:latin typeface="Arial"/>
                <a:cs typeface="Arial"/>
              </a:rPr>
              <a:t>я серво-применений</a:t>
            </a:r>
            <a:endParaRPr lang="en-US" altLang="de-DE" sz="1600" b="0" i="0" dirty="0" smtClean="0">
              <a:solidFill>
                <a:schemeClr val="dk1"/>
              </a:solidFill>
              <a:latin typeface="Arial"/>
              <a:cs typeface="Arial"/>
            </a:endParaRPr>
          </a:p>
          <a:p>
            <a: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altLang="de-DE" sz="1600" b="1" i="0" dirty="0" smtClean="0">
                <a:solidFill>
                  <a:schemeClr val="accent5"/>
                </a:solidFill>
                <a:latin typeface="Arial"/>
                <a:cs typeface="Arial"/>
              </a:rPr>
              <a:t>Решение</a:t>
            </a:r>
            <a:r>
              <a:rPr lang="en-US" altLang="de-DE" sz="1600" b="1" i="0" dirty="0" smtClean="0">
                <a:solidFill>
                  <a:schemeClr val="accent5"/>
                </a:solidFill>
                <a:latin typeface="Arial"/>
                <a:cs typeface="Arial"/>
              </a:rPr>
              <a:t>:</a:t>
            </a:r>
          </a:p>
          <a:p>
            <a: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altLang="de-DE" sz="1600" b="0" i="0" dirty="0" smtClean="0">
                <a:solidFill>
                  <a:schemeClr val="dk1"/>
                </a:solidFill>
                <a:latin typeface="Arial"/>
                <a:cs typeface="Arial"/>
              </a:rPr>
              <a:t>Создание компактных серво-мотор-редукторов на базе редукторов</a:t>
            </a:r>
            <a:r>
              <a:rPr lang="en-US" altLang="de-DE" sz="1600" b="0" i="0" dirty="0" smtClean="0">
                <a:solidFill>
                  <a:schemeClr val="dk1"/>
                </a:solidFill>
                <a:latin typeface="Arial"/>
                <a:cs typeface="Arial"/>
              </a:rPr>
              <a:t> SIMOGEAR </a:t>
            </a:r>
            <a:r>
              <a:rPr lang="ru-RU" altLang="de-DE" sz="1600" dirty="0" smtClean="0">
                <a:solidFill>
                  <a:schemeClr val="dk1"/>
                </a:solidFill>
                <a:latin typeface="Arial"/>
                <a:cs typeface="Arial"/>
              </a:rPr>
              <a:t>и серво-моторов</a:t>
            </a:r>
            <a:r>
              <a:rPr lang="en-US" altLang="de-DE" sz="1600" b="0" i="0" dirty="0" smtClean="0">
                <a:solidFill>
                  <a:schemeClr val="dk1"/>
                </a:solidFill>
                <a:latin typeface="Arial"/>
                <a:cs typeface="Arial"/>
              </a:rPr>
              <a:t> SIMOTICS S-1FK7</a:t>
            </a:r>
            <a:endParaRPr lang="ru-RU" altLang="de-DE" sz="1600" b="0" i="0" dirty="0" smtClean="0">
              <a:solidFill>
                <a:schemeClr val="dk1"/>
              </a:solidFill>
              <a:latin typeface="Arial"/>
              <a:cs typeface="Arial"/>
            </a:endParaRPr>
          </a:p>
          <a:p>
            <a: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altLang="de-DE" sz="1600" b="1" i="0" dirty="0" smtClean="0">
                <a:solidFill>
                  <a:schemeClr val="accent5"/>
                </a:solidFill>
                <a:latin typeface="Arial"/>
                <a:cs typeface="Arial"/>
              </a:rPr>
              <a:t>Требование рынка</a:t>
            </a:r>
            <a:r>
              <a:rPr lang="en-US" altLang="de-DE" sz="1600" b="1" i="0" dirty="0" smtClean="0">
                <a:solidFill>
                  <a:schemeClr val="accent5"/>
                </a:solidFill>
                <a:latin typeface="Arial"/>
                <a:cs typeface="Arial"/>
              </a:rPr>
              <a:t>:</a:t>
            </a:r>
          </a:p>
          <a:p>
            <a: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altLang="de-DE" sz="1600" b="0" i="0" dirty="0" smtClean="0">
                <a:solidFill>
                  <a:schemeClr val="dk1"/>
                </a:solidFill>
                <a:latin typeface="Arial"/>
                <a:cs typeface="Arial"/>
              </a:rPr>
              <a:t>Рынок серво-мотор-редукторов перенасыщен</a:t>
            </a:r>
            <a:r>
              <a:rPr lang="en-US" altLang="de-DE" sz="1600" b="0" i="0" dirty="0" smtClean="0">
                <a:solidFill>
                  <a:schemeClr val="dk1"/>
                </a:solidFill>
                <a:latin typeface="Arial"/>
                <a:cs typeface="Arial"/>
              </a:rPr>
              <a:t>, </a:t>
            </a:r>
            <a:r>
              <a:rPr lang="ru-RU" altLang="de-DE" sz="1600" b="0" i="0" dirty="0" smtClean="0">
                <a:solidFill>
                  <a:schemeClr val="dk1"/>
                </a:solidFill>
                <a:latin typeface="Arial"/>
                <a:cs typeface="Arial"/>
              </a:rPr>
              <a:t>увеличение доли рынка возможно только за счёт снижения доли конкурентов</a:t>
            </a:r>
            <a:endParaRPr lang="en-US" altLang="de-DE" sz="1600" b="0" i="0" dirty="0" smtClean="0">
              <a:solidFill>
                <a:schemeClr val="dk1"/>
              </a:solidFill>
              <a:latin typeface="Arial"/>
              <a:cs typeface="Arial"/>
            </a:endParaRPr>
          </a:p>
          <a:p>
            <a: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altLang="de-DE" sz="1600" b="1" i="0" dirty="0" smtClean="0">
                <a:solidFill>
                  <a:schemeClr val="accent5"/>
                </a:solidFill>
                <a:latin typeface="Arial"/>
                <a:cs typeface="Arial"/>
              </a:rPr>
              <a:t>Решение</a:t>
            </a:r>
            <a:r>
              <a:rPr lang="en-US" altLang="de-DE" sz="1600" b="1" i="0" dirty="0" smtClean="0">
                <a:solidFill>
                  <a:schemeClr val="accent5"/>
                </a:solidFill>
                <a:latin typeface="Arial"/>
                <a:cs typeface="Arial"/>
              </a:rPr>
              <a:t>:</a:t>
            </a:r>
          </a:p>
          <a:p>
            <a: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altLang="de-DE" sz="1600" b="0" i="0" dirty="0" smtClean="0">
                <a:solidFill>
                  <a:schemeClr val="dk1"/>
                </a:solidFill>
                <a:latin typeface="Arial"/>
                <a:cs typeface="Arial"/>
              </a:rPr>
              <a:t>Компактные серво-мотор-редукторы </a:t>
            </a:r>
            <a:r>
              <a:rPr lang="en-US" altLang="de-DE" sz="1600" b="0" i="0" dirty="0" smtClean="0">
                <a:solidFill>
                  <a:schemeClr val="dk1"/>
                </a:solidFill>
                <a:latin typeface="Arial"/>
                <a:cs typeface="Arial"/>
              </a:rPr>
              <a:t>SIMOTICS S-1FG1, </a:t>
            </a:r>
            <a:r>
              <a:rPr lang="ru-RU" altLang="de-DE" sz="1600" b="0" i="0" dirty="0" smtClean="0">
                <a:solidFill>
                  <a:schemeClr val="dk1"/>
                </a:solidFill>
                <a:latin typeface="Arial"/>
                <a:cs typeface="Arial"/>
              </a:rPr>
              <a:t>имеют те же типоразмеры редукторной </a:t>
            </a:r>
            <a:r>
              <a:rPr lang="ru-RU" altLang="de-DE" sz="1600" b="0" i="0" dirty="0" smtClean="0">
                <a:solidFill>
                  <a:schemeClr val="dk1"/>
                </a:solidFill>
                <a:latin typeface="Arial"/>
                <a:cs typeface="Arial"/>
              </a:rPr>
              <a:t>части</a:t>
            </a:r>
            <a:r>
              <a:rPr lang="en-US" altLang="de-DE" sz="1600" b="0" i="0" dirty="0" smtClean="0">
                <a:solidFill>
                  <a:schemeClr val="dk1"/>
                </a:solidFill>
                <a:latin typeface="Arial"/>
                <a:cs typeface="Arial"/>
              </a:rPr>
              <a:t> </a:t>
            </a:r>
            <a:r>
              <a:rPr lang="ru-RU" altLang="de-DE" sz="1600" b="0" i="0" dirty="0" smtClean="0">
                <a:solidFill>
                  <a:schemeClr val="dk1"/>
                </a:solidFill>
                <a:latin typeface="Arial"/>
                <a:cs typeface="Arial"/>
              </a:rPr>
              <a:t>что и конкуренты</a:t>
            </a:r>
            <a:endParaRPr lang="en-US" altLang="de-DE" sz="1600" b="0" i="0" dirty="0" smtClean="0">
              <a:solidFill>
                <a:schemeClr val="dk1"/>
              </a:solidFill>
              <a:latin typeface="Arial"/>
              <a:cs typeface="Arial"/>
            </a:endParaRPr>
          </a:p>
          <a:p>
            <a: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altLang="de-DE" sz="1600" b="1" i="0" dirty="0" smtClean="0">
                <a:solidFill>
                  <a:schemeClr val="accent5"/>
                </a:solidFill>
                <a:latin typeface="Arial"/>
                <a:cs typeface="Arial"/>
              </a:rPr>
              <a:t>Требование рынка</a:t>
            </a:r>
            <a:r>
              <a:rPr lang="en-US" altLang="de-DE" sz="1600" b="1" i="0" dirty="0" smtClean="0">
                <a:solidFill>
                  <a:schemeClr val="accent5"/>
                </a:solidFill>
                <a:latin typeface="Arial"/>
                <a:cs typeface="Arial"/>
              </a:rPr>
              <a:t>:</a:t>
            </a:r>
          </a:p>
          <a:p>
            <a: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altLang="de-DE" sz="1600" b="0" i="0" dirty="0" smtClean="0">
                <a:solidFill>
                  <a:schemeClr val="dk1"/>
                </a:solidFill>
                <a:latin typeface="Arial"/>
                <a:cs typeface="Arial"/>
              </a:rPr>
              <a:t>Бесшовная интеграция в систему </a:t>
            </a:r>
            <a:r>
              <a:rPr lang="en-US" altLang="de-DE" sz="1600" b="0" i="0" dirty="0" smtClean="0">
                <a:solidFill>
                  <a:schemeClr val="dk1"/>
                </a:solidFill>
                <a:latin typeface="Arial"/>
                <a:cs typeface="Arial"/>
              </a:rPr>
              <a:t>– </a:t>
            </a:r>
            <a:r>
              <a:rPr lang="ru-RU" altLang="de-DE" sz="1600" dirty="0" smtClean="0">
                <a:solidFill>
                  <a:schemeClr val="dk1"/>
                </a:solidFill>
                <a:latin typeface="Arial"/>
                <a:cs typeface="Arial"/>
              </a:rPr>
              <a:t>от вала до системы управления</a:t>
            </a:r>
            <a:endParaRPr lang="en-US" altLang="de-DE" sz="1600" b="0" i="0" dirty="0" smtClean="0">
              <a:solidFill>
                <a:schemeClr val="dk1"/>
              </a:solidFill>
              <a:latin typeface="Arial"/>
              <a:cs typeface="Arial"/>
            </a:endParaRPr>
          </a:p>
          <a:p>
            <a: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altLang="de-DE" sz="1600" b="1" i="0" dirty="0" smtClean="0">
                <a:solidFill>
                  <a:schemeClr val="accent5"/>
                </a:solidFill>
                <a:latin typeface="Arial"/>
                <a:cs typeface="Arial"/>
              </a:rPr>
              <a:t>Решение</a:t>
            </a:r>
            <a:r>
              <a:rPr lang="en-US" altLang="de-DE" sz="1600" b="1" i="0" dirty="0" smtClean="0">
                <a:solidFill>
                  <a:schemeClr val="accent5"/>
                </a:solidFill>
                <a:latin typeface="Arial"/>
                <a:cs typeface="Arial"/>
              </a:rPr>
              <a:t>:</a:t>
            </a:r>
          </a:p>
          <a:p>
            <a: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altLang="de-DE" sz="1600" dirty="0" smtClean="0">
                <a:solidFill>
                  <a:schemeClr val="dk1"/>
                </a:solidFill>
                <a:latin typeface="Arial"/>
                <a:cs typeface="Arial"/>
              </a:rPr>
              <a:t>Siemens</a:t>
            </a:r>
            <a:r>
              <a:rPr lang="ru-RU" altLang="de-DE" sz="1600" dirty="0" smtClean="0">
                <a:solidFill>
                  <a:schemeClr val="dk1"/>
                </a:solidFill>
                <a:latin typeface="Arial"/>
                <a:cs typeface="Arial"/>
              </a:rPr>
              <a:t> предлагает концепцию </a:t>
            </a:r>
            <a:r>
              <a:rPr lang="en-US" altLang="de-DE" sz="1600" b="0" i="0" dirty="0" smtClean="0">
                <a:solidFill>
                  <a:schemeClr val="dk1"/>
                </a:solidFill>
                <a:latin typeface="Arial"/>
                <a:cs typeface="Arial"/>
              </a:rPr>
              <a:t>IDS* </a:t>
            </a:r>
            <a:r>
              <a:rPr lang="ru-RU" altLang="de-DE" sz="1600" b="0" i="0" dirty="0" smtClean="0">
                <a:solidFill>
                  <a:schemeClr val="dk1"/>
                </a:solidFill>
                <a:latin typeface="Arial"/>
                <a:cs typeface="Arial"/>
              </a:rPr>
              <a:t>и</a:t>
            </a:r>
            <a:r>
              <a:rPr lang="en-US" altLang="de-DE" sz="1600" b="0" i="0" dirty="0" smtClean="0">
                <a:solidFill>
                  <a:schemeClr val="dk1"/>
                </a:solidFill>
                <a:latin typeface="Arial"/>
                <a:cs typeface="Arial"/>
              </a:rPr>
              <a:t> TIA*</a:t>
            </a:r>
            <a:r>
              <a:rPr lang="ru-RU" altLang="de-DE" sz="1600" b="0" i="0" dirty="0" smtClean="0">
                <a:solidFill>
                  <a:schemeClr val="dk1"/>
                </a:solidFill>
                <a:latin typeface="Arial"/>
                <a:cs typeface="Arial"/>
              </a:rPr>
              <a:t> - что является одним из самых сильнейших конкурентных преимуществ</a:t>
            </a:r>
            <a:endParaRPr lang="en-US" altLang="de-DE" sz="1600" b="0" i="0" dirty="0" smtClean="0">
              <a:solidFill>
                <a:schemeClr val="dk1"/>
              </a:solidFill>
              <a:latin typeface="Arial"/>
              <a:cs typeface="Arial"/>
            </a:endParaRPr>
          </a:p>
          <a:p>
            <a:pPr marL="0" indent="0"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550" dirty="0" smtClean="0">
              <a:latin typeface="Arial"/>
              <a:cs typeface="Arial"/>
            </a:endParaRPr>
          </a:p>
        </p:txBody>
      </p:sp>
      <p:pic>
        <p:nvPicPr>
          <p:cNvPr id="4" name="Picture 2" descr="D:\05.0-1FG1\g1-Unterlagen\Bilder\04_PNGs\I_DT_Gruppe_SIMOTICS_Servogetriebemotoren_Style_01_sRGB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416083" y="2899614"/>
            <a:ext cx="1840960" cy="1530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D:\05.0-1FG1\g2-Ausarbeit\Folien-Vertrieb\Vertriebsfolien-kurz\P_D087_XX_00068P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02631" y="1576453"/>
            <a:ext cx="916297" cy="7440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 descr="D:\49-Dateien-Alt-kS\49.3-RMC-P-2014\03.1-EoDB\d-Folien\a-1FK7\Bilder\P_NC01_XX_01075P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01915" y="1484784"/>
            <a:ext cx="1016877" cy="930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feld 13"/>
          <p:cNvSpPr txBox="1"/>
          <p:nvPr/>
        </p:nvSpPr>
        <p:spPr>
          <a:xfrm>
            <a:off x="2271117" y="1794493"/>
            <a:ext cx="134652" cy="3046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</a:pPr>
            <a:r>
              <a:rPr lang="en-US" dirty="0" smtClean="0">
                <a:solidFill>
                  <a:schemeClr val="tx1"/>
                </a:solidFill>
              </a:rPr>
              <a:t>+</a:t>
            </a:r>
          </a:p>
        </p:txBody>
      </p:sp>
      <p:pic>
        <p:nvPicPr>
          <p:cNvPr id="8" name="Picture 2788" descr="IDT_0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96603" y="4683972"/>
            <a:ext cx="1887769" cy="1336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Pfeil nach unten 15"/>
          <p:cNvSpPr/>
          <p:nvPr/>
        </p:nvSpPr>
        <p:spPr bwMode="auto">
          <a:xfrm>
            <a:off x="2094386" y="2365122"/>
            <a:ext cx="484632" cy="494020"/>
          </a:xfrm>
          <a:prstGeom prst="downArrow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10" name="Textfeld 1"/>
          <p:cNvSpPr txBox="1"/>
          <p:nvPr/>
        </p:nvSpPr>
        <p:spPr>
          <a:xfrm>
            <a:off x="3938935" y="5769260"/>
            <a:ext cx="7776815" cy="3600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altLang="de-DE" sz="1000" b="1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</a:rPr>
              <a:t>1)*: IDS </a:t>
            </a:r>
            <a:r>
              <a:rPr lang="en-US" altLang="de-DE" sz="1000" b="1" dirty="0">
                <a:solidFill>
                  <a:schemeClr val="tx1"/>
                </a:solidFill>
                <a:latin typeface="Arial" charset="0"/>
                <a:ea typeface="ＭＳ Ｐゴシック" pitchFamily="34" charset="-128"/>
              </a:rPr>
              <a:t>(Integrated Drive System)</a:t>
            </a:r>
            <a:r>
              <a:rPr lang="en-US" altLang="de-DE" sz="1000" dirty="0">
                <a:solidFill>
                  <a:schemeClr val="tx1"/>
                </a:solidFill>
                <a:latin typeface="Arial" charset="0"/>
                <a:ea typeface="ＭＳ Ｐゴシック" pitchFamily="34" charset="-128"/>
              </a:rPr>
              <a:t>: </a:t>
            </a:r>
            <a:r>
              <a:rPr lang="ru-RU" altLang="de-DE" sz="1000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</a:rPr>
              <a:t>Интегрированный привод. </a:t>
            </a:r>
            <a:r>
              <a:rPr lang="en-US" altLang="de-DE" sz="1000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</a:rPr>
              <a:t>Siemens </a:t>
            </a:r>
            <a:r>
              <a:rPr lang="ru-RU" altLang="de-DE" sz="1000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</a:rPr>
              <a:t>предлагает все компоненты системы</a:t>
            </a:r>
            <a:r>
              <a:rPr lang="en-US" altLang="de-DE" sz="1000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</a:rPr>
              <a:t>.</a:t>
            </a:r>
            <a:endParaRPr lang="en-US" altLang="de-DE" sz="1000" dirty="0">
              <a:solidFill>
                <a:schemeClr val="tx1"/>
              </a:solidFill>
              <a:latin typeface="Arial" charset="0"/>
              <a:ea typeface="ＭＳ Ｐゴシック" pitchFamily="34" charset="-128"/>
            </a:endParaRPr>
          </a:p>
          <a:p>
            <a:pPr algn="r"/>
            <a:r>
              <a:rPr lang="en-US" altLang="de-DE" sz="1000" b="1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</a:rPr>
              <a:t>2)*: TIA </a:t>
            </a:r>
            <a:r>
              <a:rPr lang="en-US" altLang="de-DE" sz="1000" b="1" dirty="0">
                <a:solidFill>
                  <a:schemeClr val="tx1"/>
                </a:solidFill>
                <a:latin typeface="Arial" charset="0"/>
                <a:ea typeface="ＭＳ Ｐゴシック" pitchFamily="34" charset="-128"/>
              </a:rPr>
              <a:t>(Totally Integrated Automation): </a:t>
            </a:r>
            <a:r>
              <a:rPr lang="ru-RU" altLang="de-DE" sz="1000" dirty="0">
                <a:solidFill>
                  <a:schemeClr val="tx1"/>
                </a:solidFill>
                <a:latin typeface="Arial" charset="0"/>
                <a:ea typeface="ＭＳ Ｐゴシック" pitchFamily="34" charset="-128"/>
              </a:rPr>
              <a:t>Единая интеграция приводов (двигателей и инверторов) и системы автоматизации</a:t>
            </a:r>
            <a:r>
              <a:rPr lang="en-US" altLang="de-DE" sz="1000" dirty="0" smtClean="0">
                <a:solidFill>
                  <a:schemeClr val="tx1"/>
                </a:solidFill>
                <a:latin typeface="Arial" charset="0"/>
                <a:ea typeface="ＭＳ Ｐゴシック" pitchFamily="34" charset="-128"/>
              </a:rPr>
              <a:t>.</a:t>
            </a:r>
            <a:endParaRPr lang="en-US" altLang="de-DE" sz="1000" dirty="0">
              <a:solidFill>
                <a:schemeClr val="tx1"/>
              </a:solidFill>
              <a:latin typeface="Arial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55370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зиционирование в портфолио </a:t>
            </a:r>
            <a:r>
              <a:rPr lang="en-US" dirty="0"/>
              <a:t>SIMOTICS</a:t>
            </a:r>
            <a:endParaRPr lang="en-US" noProof="0" dirty="0"/>
          </a:p>
        </p:txBody>
      </p:sp>
      <p:pic>
        <p:nvPicPr>
          <p:cNvPr id="3" name="Picture 3" descr="D:\06.3-Motoren\a0-Übergr\SIMOTICS_Uebersichttabelle_eng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31120" y="1520006"/>
            <a:ext cx="10136110" cy="4429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uppieren 23"/>
          <p:cNvGrpSpPr/>
          <p:nvPr/>
        </p:nvGrpSpPr>
        <p:grpSpPr>
          <a:xfrm>
            <a:off x="2387953" y="1412776"/>
            <a:ext cx="4287286" cy="4680520"/>
            <a:chOff x="4144148" y="963247"/>
            <a:chExt cx="3746645" cy="4369324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grpSp>
          <p:nvGrpSpPr>
            <p:cNvPr id="5" name="Gruppieren 24"/>
            <p:cNvGrpSpPr/>
            <p:nvPr/>
          </p:nvGrpSpPr>
          <p:grpSpPr>
            <a:xfrm>
              <a:off x="4144148" y="963247"/>
              <a:ext cx="3746645" cy="4369324"/>
              <a:chOff x="7683351" y="1048958"/>
              <a:chExt cx="3746645" cy="4369324"/>
            </a:xfrm>
          </p:grpSpPr>
          <p:grpSp>
            <p:nvGrpSpPr>
              <p:cNvPr id="8" name="Gruppieren 28"/>
              <p:cNvGrpSpPr/>
              <p:nvPr/>
            </p:nvGrpSpPr>
            <p:grpSpPr>
              <a:xfrm>
                <a:off x="7683351" y="1048958"/>
                <a:ext cx="3746645" cy="4369324"/>
                <a:chOff x="623743" y="698732"/>
                <a:chExt cx="3746645" cy="4369324"/>
              </a:xfrm>
            </p:grpSpPr>
            <p:sp>
              <p:nvSpPr>
                <p:cNvPr id="11" name="Rechteck 31"/>
                <p:cNvSpPr/>
                <p:nvPr/>
              </p:nvSpPr>
              <p:spPr bwMode="auto">
                <a:xfrm>
                  <a:off x="627063" y="3140968"/>
                  <a:ext cx="1871712" cy="608841"/>
                </a:xfrm>
                <a:prstGeom prst="rect">
                  <a:avLst/>
                </a:prstGeom>
                <a:solidFill>
                  <a:srgbClr val="D7C5CB"/>
                </a:solidFill>
                <a:ln w="12700">
                  <a:solidFill>
                    <a:srgbClr val="FFFFFF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r>
                    <a:rPr lang="en-US" sz="1800" b="1" dirty="0" smtClean="0">
                      <a:solidFill>
                        <a:schemeClr val="tx1"/>
                      </a:solidFill>
                    </a:rPr>
                    <a:t>0,05 – 34,2 </a:t>
                  </a:r>
                  <a:r>
                    <a:rPr lang="ru-RU" sz="1800" b="1" dirty="0" smtClean="0">
                      <a:solidFill>
                        <a:schemeClr val="tx1"/>
                      </a:solidFill>
                    </a:rPr>
                    <a:t>кВт</a:t>
                  </a:r>
                  <a:endParaRPr lang="en-US" sz="1800" b="1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" name="Rechteck 34"/>
                <p:cNvSpPr/>
                <p:nvPr/>
              </p:nvSpPr>
              <p:spPr bwMode="auto">
                <a:xfrm>
                  <a:off x="2498676" y="3136644"/>
                  <a:ext cx="1871712" cy="613164"/>
                </a:xfrm>
                <a:prstGeom prst="rect">
                  <a:avLst/>
                </a:prstGeom>
                <a:solidFill>
                  <a:srgbClr val="D7C5CB"/>
                </a:solidFill>
                <a:ln w="12700">
                  <a:solidFill>
                    <a:srgbClr val="FFFFFF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r>
                    <a:rPr lang="en-US" sz="1800" b="1" dirty="0" smtClean="0">
                      <a:solidFill>
                        <a:schemeClr val="tx1"/>
                      </a:solidFill>
                    </a:rPr>
                    <a:t>0,5 – 7 </a:t>
                  </a:r>
                  <a:r>
                    <a:rPr lang="ru-RU" sz="1800" b="1" dirty="0" smtClean="0">
                      <a:solidFill>
                        <a:schemeClr val="tx1"/>
                      </a:solidFill>
                    </a:rPr>
                    <a:t>кВт</a:t>
                  </a:r>
                  <a:endParaRPr lang="en-US" sz="1800" b="1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" name="Rechteck 35"/>
                <p:cNvSpPr/>
                <p:nvPr/>
              </p:nvSpPr>
              <p:spPr bwMode="auto">
                <a:xfrm>
                  <a:off x="626964" y="3754133"/>
                  <a:ext cx="1871712" cy="708505"/>
                </a:xfrm>
                <a:prstGeom prst="rect">
                  <a:avLst/>
                </a:prstGeom>
                <a:solidFill>
                  <a:srgbClr val="E7DBE0"/>
                </a:solidFill>
                <a:ln w="12700">
                  <a:solidFill>
                    <a:srgbClr val="FFFFFF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r>
                    <a:rPr lang="en-US" sz="1800" b="1" dirty="0" smtClean="0">
                      <a:solidFill>
                        <a:schemeClr val="tx1"/>
                      </a:solidFill>
                    </a:rPr>
                    <a:t>0,08 – 125 </a:t>
                  </a:r>
                  <a:r>
                    <a:rPr lang="ru-RU" sz="1800" b="1" dirty="0" err="1" smtClean="0">
                      <a:solidFill>
                        <a:schemeClr val="tx1"/>
                      </a:solidFill>
                    </a:rPr>
                    <a:t>Нм</a:t>
                  </a:r>
                  <a:endParaRPr lang="en-US" sz="1800" b="1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" name="Rechteck 36"/>
                <p:cNvSpPr/>
                <p:nvPr/>
              </p:nvSpPr>
              <p:spPr bwMode="auto">
                <a:xfrm>
                  <a:off x="2498577" y="3749809"/>
                  <a:ext cx="1871712" cy="712830"/>
                </a:xfrm>
                <a:prstGeom prst="rect">
                  <a:avLst/>
                </a:prstGeom>
                <a:solidFill>
                  <a:srgbClr val="E7DBE0"/>
                </a:solidFill>
                <a:ln w="12700">
                  <a:solidFill>
                    <a:srgbClr val="FFFFFF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r>
                    <a:rPr lang="en-US" sz="1800" b="1" dirty="0" smtClean="0">
                      <a:solidFill>
                        <a:schemeClr val="tx1"/>
                      </a:solidFill>
                    </a:rPr>
                    <a:t>14 – 3.070 </a:t>
                  </a:r>
                  <a:r>
                    <a:rPr lang="ru-RU" b="1" dirty="0" err="1">
                      <a:solidFill>
                        <a:schemeClr val="tx1"/>
                      </a:solidFill>
                    </a:rPr>
                    <a:t>Нм</a:t>
                  </a:r>
                  <a:endParaRPr lang="en-US" b="1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" name="Rechteck 38"/>
                <p:cNvSpPr/>
                <p:nvPr/>
              </p:nvSpPr>
              <p:spPr bwMode="auto">
                <a:xfrm>
                  <a:off x="627063" y="4416206"/>
                  <a:ext cx="1871712" cy="651850"/>
                </a:xfrm>
                <a:prstGeom prst="rect">
                  <a:avLst/>
                </a:prstGeom>
                <a:solidFill>
                  <a:srgbClr val="D7C5CB"/>
                </a:solidFill>
                <a:ln w="12700">
                  <a:solidFill>
                    <a:srgbClr val="FFFFFF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r>
                    <a:rPr lang="ru-RU" sz="1800" b="1" dirty="0" smtClean="0">
                      <a:solidFill>
                        <a:schemeClr val="tx1"/>
                      </a:solidFill>
                    </a:rPr>
                    <a:t>до</a:t>
                  </a:r>
                  <a:r>
                    <a:rPr lang="en-US" sz="1800" b="1" dirty="0" smtClean="0">
                      <a:solidFill>
                        <a:schemeClr val="tx1"/>
                      </a:solidFill>
                    </a:rPr>
                    <a:t> 10.000 </a:t>
                  </a:r>
                  <a:r>
                    <a:rPr lang="ru-RU" sz="1800" b="1" dirty="0" smtClean="0">
                      <a:solidFill>
                        <a:schemeClr val="tx1"/>
                      </a:solidFill>
                    </a:rPr>
                    <a:t>об</a:t>
                  </a:r>
                  <a:r>
                    <a:rPr lang="en-US" b="1" dirty="0" smtClean="0">
                      <a:solidFill>
                        <a:schemeClr val="tx1"/>
                      </a:solidFill>
                    </a:rPr>
                    <a:t>/</a:t>
                  </a:r>
                  <a:r>
                    <a:rPr lang="ru-RU" b="1" dirty="0" smtClean="0">
                      <a:solidFill>
                        <a:schemeClr val="tx1"/>
                      </a:solidFill>
                    </a:rPr>
                    <a:t>мин</a:t>
                  </a:r>
                  <a:endParaRPr lang="en-US" sz="1800" b="1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" name="Rechteck 39"/>
                <p:cNvSpPr/>
                <p:nvPr/>
              </p:nvSpPr>
              <p:spPr bwMode="auto">
                <a:xfrm>
                  <a:off x="2498676" y="4411883"/>
                  <a:ext cx="1871712" cy="651850"/>
                </a:xfrm>
                <a:prstGeom prst="rect">
                  <a:avLst/>
                </a:prstGeom>
                <a:solidFill>
                  <a:srgbClr val="D7C5CB"/>
                </a:solidFill>
                <a:ln w="12700">
                  <a:solidFill>
                    <a:srgbClr val="FFFFFF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r>
                    <a:rPr lang="ru-RU" sz="1800" b="1" dirty="0" smtClean="0">
                      <a:solidFill>
                        <a:schemeClr val="tx1"/>
                      </a:solidFill>
                    </a:rPr>
                    <a:t>до</a:t>
                  </a:r>
                  <a:r>
                    <a:rPr lang="en-US" sz="1800" b="1" dirty="0" smtClean="0">
                      <a:solidFill>
                        <a:schemeClr val="tx1"/>
                      </a:solidFill>
                    </a:rPr>
                    <a:t> 1.300 </a:t>
                  </a:r>
                  <a:r>
                    <a:rPr lang="ru-RU" sz="1800" b="1" dirty="0" smtClean="0">
                      <a:solidFill>
                        <a:schemeClr val="tx1"/>
                      </a:solidFill>
                    </a:rPr>
                    <a:t>об</a:t>
                  </a:r>
                  <a:r>
                    <a:rPr lang="en-US" b="1" dirty="0" smtClean="0">
                      <a:solidFill>
                        <a:schemeClr val="tx1"/>
                      </a:solidFill>
                    </a:rPr>
                    <a:t>/</a:t>
                  </a:r>
                  <a:r>
                    <a:rPr lang="ru-RU" b="1" dirty="0" smtClean="0">
                      <a:solidFill>
                        <a:schemeClr val="tx1"/>
                      </a:solidFill>
                    </a:rPr>
                    <a:t>мин</a:t>
                  </a:r>
                  <a:endParaRPr lang="en-US" sz="1800" b="1" dirty="0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" name="Rechteck 40"/>
                <p:cNvSpPr/>
                <p:nvPr/>
              </p:nvSpPr>
              <p:spPr bwMode="auto">
                <a:xfrm>
                  <a:off x="623842" y="2146870"/>
                  <a:ext cx="1871712" cy="1008112"/>
                </a:xfrm>
                <a:prstGeom prst="rect">
                  <a:avLst/>
                </a:prstGeom>
                <a:solidFill>
                  <a:srgbClr val="D3B6C5"/>
                </a:solidFill>
                <a:ln w="12700">
                  <a:solidFill>
                    <a:srgbClr val="FFFFFF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800" b="1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" name="Rechteck 42"/>
                <p:cNvSpPr/>
                <p:nvPr/>
              </p:nvSpPr>
              <p:spPr bwMode="auto">
                <a:xfrm>
                  <a:off x="2495455" y="2142546"/>
                  <a:ext cx="1871712" cy="1008112"/>
                </a:xfrm>
                <a:prstGeom prst="rect">
                  <a:avLst/>
                </a:prstGeom>
                <a:solidFill>
                  <a:srgbClr val="D3B6C5"/>
                </a:solidFill>
                <a:ln w="12700">
                  <a:solidFill>
                    <a:srgbClr val="FFFFFF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endParaRPr lang="en-US" sz="1800" b="1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" name="Rechteck 44"/>
                <p:cNvSpPr/>
                <p:nvPr/>
              </p:nvSpPr>
              <p:spPr bwMode="auto">
                <a:xfrm>
                  <a:off x="623743" y="698732"/>
                  <a:ext cx="3743424" cy="651850"/>
                </a:xfrm>
                <a:prstGeom prst="rect">
                  <a:avLst/>
                </a:prstGeom>
                <a:solidFill>
                  <a:srgbClr val="C7AFB9"/>
                </a:solidFill>
                <a:ln w="12700">
                  <a:solidFill>
                    <a:srgbClr val="FFFFFF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chemeClr val="bg2">
                            <a:alpha val="74998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 wrap="square" lIns="108000" tIns="54000" rIns="108000" bIns="54000" numCol="1" spcCol="72000" rtlCol="0" anchor="ctr">
                  <a:noAutofit/>
                </a:bodyPr>
                <a:lstStyle/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r>
                    <a:rPr lang="ru-RU" sz="1800" dirty="0" smtClean="0">
                      <a:solidFill>
                        <a:schemeClr val="tx1"/>
                      </a:solidFill>
                    </a:rPr>
                    <a:t>Серво-мотор-редукторы</a:t>
                  </a:r>
                  <a:endParaRPr lang="en-US" sz="1800" dirty="0" smtClean="0">
                    <a:solidFill>
                      <a:schemeClr val="tx1"/>
                    </a:solidFill>
                  </a:endParaRPr>
                </a:p>
                <a:p>
                  <a:pPr algn="ctr">
                    <a:lnSpc>
                      <a:spcPct val="110000"/>
                    </a:lnSpc>
                    <a:spcBef>
                      <a:spcPct val="0"/>
                    </a:spcBef>
                    <a:buFont typeface="Wingdings" charset="0"/>
                    <a:buNone/>
                  </a:pPr>
                  <a:r>
                    <a:rPr lang="en-US" b="1" dirty="0" smtClean="0">
                      <a:solidFill>
                        <a:schemeClr val="tx1"/>
                      </a:solidFill>
                    </a:rPr>
                    <a:t>SIMOTICS S</a:t>
                  </a:r>
                  <a:endParaRPr lang="en-US" sz="1800" b="1" dirty="0" smtClean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9" name="Rechteck 29"/>
              <p:cNvSpPr/>
              <p:nvPr/>
            </p:nvSpPr>
            <p:spPr bwMode="auto">
              <a:xfrm>
                <a:off x="7683351" y="1692548"/>
                <a:ext cx="1871712" cy="800348"/>
              </a:xfrm>
              <a:prstGeom prst="rect">
                <a:avLst/>
              </a:prstGeom>
              <a:solidFill>
                <a:srgbClr val="C7AFB9"/>
              </a:solidFill>
              <a:ln w="12700">
                <a:solidFill>
                  <a:srgbClr val="FFFFFF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ru-RU" sz="1800" b="1" dirty="0" smtClean="0">
                    <a:solidFill>
                      <a:schemeClr val="tx1"/>
                    </a:solidFill>
                  </a:rPr>
                  <a:t>Серво-моторы</a:t>
                </a:r>
                <a:endParaRPr lang="en-US" sz="1800" b="1" dirty="0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Rechteck 30"/>
              <p:cNvSpPr/>
              <p:nvPr/>
            </p:nvSpPr>
            <p:spPr bwMode="auto">
              <a:xfrm>
                <a:off x="9554964" y="1688224"/>
                <a:ext cx="1871712" cy="800348"/>
              </a:xfrm>
              <a:prstGeom prst="rect">
                <a:avLst/>
              </a:prstGeom>
              <a:solidFill>
                <a:srgbClr val="C7AFB9"/>
              </a:solidFill>
              <a:ln w="12700">
                <a:solidFill>
                  <a:srgbClr val="FFFFFF"/>
                </a:solidFill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8099" dir="2700000" algn="ctr" rotWithShape="0">
                        <a:schemeClr val="bg2">
                          <a:alpha val="74998"/>
                        </a:schemeClr>
                      </a:outerShdw>
                    </a:effectLst>
                  </a14:hiddenEffects>
                </a:ext>
              </a:extLst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ru-RU" sz="1800" b="1" dirty="0" smtClean="0">
                    <a:solidFill>
                      <a:schemeClr val="tx1"/>
                    </a:solidFill>
                  </a:rPr>
                  <a:t>Серво-мотор-редукторы</a:t>
                </a:r>
                <a:endParaRPr lang="en-US" sz="1800" b="1" dirty="0" smtClean="0">
                  <a:solidFill>
                    <a:schemeClr val="tx1"/>
                  </a:solidFill>
                </a:endParaRPr>
              </a:p>
            </p:txBody>
          </p:sp>
        </p:grpSp>
        <p:pic>
          <p:nvPicPr>
            <p:cNvPr id="6" name="Picture 2" descr="C:\Users\ba4276\AppData\Local\Microsoft\Windows\Temporary Internet Files\Content.Outlook\2MH3UJ15\SIMOTICS_Uebersichttabelle_deu (2).pn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960" t="40488" r="83088" b="46004"/>
            <a:stretch/>
          </p:blipFill>
          <p:spPr bwMode="auto">
            <a:xfrm>
              <a:off x="4566031" y="2590802"/>
              <a:ext cx="1027945" cy="6406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2" descr="C:\Users\ba4276\AppData\Local\Microsoft\Windows\Temporary Internet Files\Content.Outlook\2MH3UJ15\SIMOTICS_Uebersichttabelle_deu (2).pn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9531" t="41072" r="65556" b="45198"/>
            <a:stretch/>
          </p:blipFill>
          <p:spPr bwMode="auto">
            <a:xfrm>
              <a:off x="6369339" y="2624494"/>
              <a:ext cx="1025236" cy="6511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0" name="Rechteck 46"/>
          <p:cNvSpPr/>
          <p:nvPr/>
        </p:nvSpPr>
        <p:spPr bwMode="auto">
          <a:xfrm>
            <a:off x="2387953" y="1412776"/>
            <a:ext cx="4283600" cy="4675889"/>
          </a:xfrm>
          <a:prstGeom prst="rect">
            <a:avLst/>
          </a:prstGeom>
          <a:noFill/>
          <a:ln w="57150">
            <a:solidFill>
              <a:srgbClr val="FFFFFF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6072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озиционирование в портфолио мотор-редукторов</a:t>
            </a:r>
            <a:endParaRPr lang="en-US" noProof="0" dirty="0"/>
          </a:p>
        </p:txBody>
      </p:sp>
      <p:graphicFrame>
        <p:nvGraphicFramePr>
          <p:cNvPr id="3" name="Inhaltsplatzhalter 2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44785215"/>
              </p:ext>
            </p:extLst>
          </p:nvPr>
        </p:nvGraphicFramePr>
        <p:xfrm>
          <a:off x="1490663" y="2708920"/>
          <a:ext cx="2882657" cy="28520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2657"/>
              </a:tblGrid>
              <a:tr h="432048">
                <a:tc>
                  <a:txBody>
                    <a:bodyPr/>
                    <a:lstStyle/>
                    <a:p>
                      <a:pPr marL="0" algn="ctr" defTabSz="914400">
                        <a:buNone/>
                      </a:pPr>
                      <a:r>
                        <a:rPr lang="ru-RU" sz="1400" b="1" i="0" dirty="0" smtClean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Мотор-редукторы</a:t>
                      </a:r>
                      <a:endParaRPr lang="en-US" sz="1400" b="1" i="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746954"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solidFill>
                      <a:srgbClr val="BECDD7"/>
                    </a:solidFill>
                  </a:tcPr>
                </a:tc>
              </a:tr>
              <a:tr h="323199">
                <a:tc>
                  <a:txBody>
                    <a:bodyPr/>
                    <a:lstStyle/>
                    <a:p>
                      <a:pPr marL="0" algn="ctr" defTabSz="914400">
                        <a:buNone/>
                      </a:pPr>
                      <a:r>
                        <a:rPr lang="ru-RU" sz="1500" b="0" i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Редукторы</a:t>
                      </a:r>
                      <a:r>
                        <a:rPr lang="ru-RU" sz="1500" b="0" i="0" baseline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500" b="0" i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SIMOGEAR</a:t>
                      </a:r>
                      <a:endParaRPr lang="en-US" sz="1500" b="0" i="0" baseline="0" dirty="0">
                        <a:solidFill>
                          <a:schemeClr val="dk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34049" marR="134049" marT="50242" marB="50242">
                    <a:solidFill>
                      <a:srgbClr val="BECDD7"/>
                    </a:solidFill>
                  </a:tcPr>
                </a:tc>
              </a:tr>
              <a:tr h="323199">
                <a:tc>
                  <a:txBody>
                    <a:bodyPr/>
                    <a:lstStyle/>
                    <a:p>
                      <a:pPr marL="0" algn="ctr" defTabSz="914400">
                        <a:buNone/>
                      </a:pPr>
                      <a:r>
                        <a:rPr lang="ru-RU" sz="1500" b="0" i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Серия</a:t>
                      </a:r>
                      <a:r>
                        <a:rPr lang="en-US" sz="1500" b="0" i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: SIMOGEAR</a:t>
                      </a:r>
                      <a:endParaRPr lang="en-US" sz="1500" b="0" i="0" dirty="0">
                        <a:solidFill>
                          <a:schemeClr val="dk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34049" marR="134049" marT="50242" marB="50242">
                    <a:lnB w="12700" cap="flat" cmpd="sng" algn="ctr">
                      <a:solidFill>
                        <a:srgbClr val="6978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ECDD7"/>
                    </a:solidFill>
                  </a:tcPr>
                </a:tc>
              </a:tr>
              <a:tr h="323199">
                <a:tc>
                  <a:txBody>
                    <a:bodyPr/>
                    <a:lstStyle/>
                    <a:p>
                      <a:pPr marL="0" algn="l" defTabSz="914400">
                        <a:buNone/>
                      </a:pPr>
                      <a:r>
                        <a:rPr lang="ru-RU" sz="1500" b="0" i="0" dirty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Конвейерное применения</a:t>
                      </a:r>
                      <a:r>
                        <a:rPr lang="en-US" sz="1500" b="0" i="0" dirty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; </a:t>
                      </a:r>
                      <a:r>
                        <a:rPr lang="ru-RU" sz="1500" b="0" i="0" dirty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насосы</a:t>
                      </a:r>
                      <a:r>
                        <a:rPr lang="en-US" sz="1500" b="0" i="0" dirty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500" b="0" i="0" dirty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вентиляторы</a:t>
                      </a:r>
                      <a:r>
                        <a:rPr lang="en-US" sz="1500" b="0" i="0" dirty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500" b="0" i="0" dirty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подъёмники, стандартные применения</a:t>
                      </a:r>
                      <a:endParaRPr lang="en-US" sz="1500" b="0" i="0" baseline="0" dirty="0">
                        <a:solidFill>
                          <a:srgbClr val="FFFFFF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34049" marR="134049" marT="50242" marB="50242">
                    <a:lnL w="12700" cap="flat" cmpd="sng" algn="ctr">
                      <a:solidFill>
                        <a:srgbClr val="6978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978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978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978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6666"/>
                    </a:solidFill>
                  </a:tcPr>
                </a:tc>
              </a:tr>
            </a:tbl>
          </a:graphicData>
        </a:graphic>
      </p:graphicFrame>
      <p:sp>
        <p:nvSpPr>
          <p:cNvPr id="4" name="AutoShape 9"/>
          <p:cNvSpPr>
            <a:spLocks noChangeArrowheads="1"/>
          </p:cNvSpPr>
          <p:nvPr/>
        </p:nvSpPr>
        <p:spPr bwMode="auto">
          <a:xfrm rot="16200000">
            <a:off x="-1227624" y="3339045"/>
            <a:ext cx="4356521" cy="647999"/>
          </a:xfrm>
          <a:prstGeom prst="rightArrow">
            <a:avLst>
              <a:gd name="adj1" fmla="val 52093"/>
              <a:gd name="adj2" fmla="val 56339"/>
            </a:avLst>
          </a:prstGeom>
          <a:solidFill>
            <a:srgbClr val="879BA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 eaLnBrk="0" hangingPunct="0">
              <a:spcBef>
                <a:spcPct val="0"/>
              </a:spcBef>
              <a:buClrTx/>
              <a:buFontTx/>
              <a:buNone/>
            </a:pPr>
            <a:r>
              <a:rPr lang="ru-RU" altLang="de-DE" b="1" dirty="0" smtClean="0">
                <a:solidFill>
                  <a:schemeClr val="bg1"/>
                </a:solidFill>
              </a:rPr>
              <a:t>Цена</a:t>
            </a:r>
            <a:endParaRPr lang="en-US" altLang="de-DE" b="1" dirty="0">
              <a:solidFill>
                <a:schemeClr val="bg1"/>
              </a:solidFill>
            </a:endParaRPr>
          </a:p>
        </p:txBody>
      </p:sp>
      <p:sp>
        <p:nvSpPr>
          <p:cNvPr id="5" name="AutoShape 10"/>
          <p:cNvSpPr>
            <a:spLocks noChangeArrowheads="1"/>
          </p:cNvSpPr>
          <p:nvPr/>
        </p:nvSpPr>
        <p:spPr bwMode="auto">
          <a:xfrm>
            <a:off x="780074" y="5517850"/>
            <a:ext cx="10935726" cy="648000"/>
          </a:xfrm>
          <a:prstGeom prst="rightArrow">
            <a:avLst>
              <a:gd name="adj1" fmla="val 45833"/>
              <a:gd name="adj2" fmla="val 62020"/>
            </a:avLst>
          </a:prstGeom>
          <a:solidFill>
            <a:srgbClr val="879BA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pPr algn="ctr" eaLnBrk="0" hangingPunct="0">
              <a:spcBef>
                <a:spcPct val="0"/>
              </a:spcBef>
            </a:pPr>
            <a:r>
              <a:rPr lang="ru-RU" altLang="de-DE" b="1" dirty="0" smtClean="0">
                <a:solidFill>
                  <a:schemeClr val="bg1"/>
                </a:solidFill>
              </a:rPr>
              <a:t>Требования</a:t>
            </a:r>
            <a:endParaRPr lang="en-US" altLang="de-DE" b="1" dirty="0">
              <a:solidFill>
                <a:schemeClr val="bg1"/>
              </a:solidFill>
            </a:endParaRPr>
          </a:p>
        </p:txBody>
      </p:sp>
      <p:graphicFrame>
        <p:nvGraphicFramePr>
          <p:cNvPr id="6" name="Inhaltsplatzhalter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36891578"/>
              </p:ext>
            </p:extLst>
          </p:nvPr>
        </p:nvGraphicFramePr>
        <p:xfrm>
          <a:off x="4947047" y="1949085"/>
          <a:ext cx="3195931" cy="34980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95931"/>
              </a:tblGrid>
              <a:tr h="441958">
                <a:tc>
                  <a:txBody>
                    <a:bodyPr/>
                    <a:lstStyle/>
                    <a:p>
                      <a:pPr marL="0" algn="ctr" defTabSz="914400">
                        <a:buNone/>
                      </a:pPr>
                      <a:r>
                        <a:rPr lang="ru-RU" sz="1400" b="1" i="0" dirty="0" smtClean="0">
                          <a:solidFill>
                            <a:schemeClr val="lt1"/>
                          </a:solidFill>
                          <a:latin typeface="Arial"/>
                          <a:ea typeface="+mn-ea"/>
                          <a:cs typeface="+mn-cs"/>
                        </a:rPr>
                        <a:t>Серво-мотор-редукторы</a:t>
                      </a:r>
                      <a:endParaRPr lang="en-US" sz="1400" b="1" i="0" dirty="0">
                        <a:solidFill>
                          <a:schemeClr val="lt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1984" marR="121984"/>
                </a:tc>
              </a:tr>
              <a:tr h="563352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121984" marR="121984">
                    <a:solidFill>
                      <a:srgbClr val="BECDD7"/>
                    </a:solidFill>
                  </a:tcPr>
                </a:tc>
              </a:tr>
              <a:tr h="972308">
                <a:tc>
                  <a:txBody>
                    <a:bodyPr/>
                    <a:lstStyle/>
                    <a:p>
                      <a:pPr marL="0" algn="ctr" defTabSz="914400">
                        <a:buNone/>
                      </a:pPr>
                      <a:r>
                        <a:rPr lang="ru-RU" sz="1400" b="0" i="0" baseline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Редукторы </a:t>
                      </a:r>
                      <a:r>
                        <a:rPr lang="en-US" sz="1400" b="0" i="0" baseline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SIMOGEAR:</a:t>
                      </a:r>
                    </a:p>
                    <a:p>
                      <a:pPr marL="0" indent="173736" algn="ctr" defTabSz="914400">
                        <a:buNone/>
                      </a:pPr>
                      <a:r>
                        <a:rPr lang="ru-RU" sz="1400" b="0" i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Цилиндрические редукторы</a:t>
                      </a:r>
                      <a:endParaRPr lang="en-US" sz="1400" b="0" i="0" dirty="0" smtClean="0">
                        <a:solidFill>
                          <a:schemeClr val="dk1"/>
                        </a:solidFill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indent="173736" algn="ctr" defTabSz="914400">
                        <a:buNone/>
                      </a:pPr>
                      <a:r>
                        <a:rPr lang="ru-RU" sz="1400" b="0" i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Плоские редукторы</a:t>
                      </a:r>
                      <a:endParaRPr lang="en-US" sz="1400" b="0" i="0" dirty="0" smtClean="0">
                        <a:solidFill>
                          <a:schemeClr val="dk1"/>
                        </a:solidFill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indent="173736" algn="ctr" defTabSz="914400">
                        <a:buNone/>
                      </a:pPr>
                      <a:r>
                        <a:rPr lang="ru-RU" sz="1400" b="0" i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Конические редукторы</a:t>
                      </a:r>
                      <a:endParaRPr lang="en-US" sz="1400" b="0" i="0" dirty="0" smtClean="0">
                        <a:solidFill>
                          <a:schemeClr val="dk1"/>
                        </a:solidFill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0" indent="173736" algn="ctr" defTabSz="914400">
                        <a:buNone/>
                      </a:pPr>
                      <a:r>
                        <a:rPr lang="ru-RU" sz="1400" b="0" i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Червячные редукторы</a:t>
                      </a:r>
                      <a:endParaRPr lang="en-US" sz="1400" b="0" i="0" dirty="0">
                        <a:solidFill>
                          <a:schemeClr val="dk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1984" marR="121984">
                    <a:solidFill>
                      <a:srgbClr val="BECDD7"/>
                    </a:solidFill>
                  </a:tcPr>
                </a:tc>
              </a:tr>
              <a:tr h="389627">
                <a:tc>
                  <a:txBody>
                    <a:bodyPr/>
                    <a:lstStyle/>
                    <a:p>
                      <a:pPr marL="0" marR="0" indent="173736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400" b="0" i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Серия</a:t>
                      </a:r>
                      <a:r>
                        <a:rPr lang="en-US" sz="1400" b="0" i="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: SIMOTICS S-1FG1</a:t>
                      </a:r>
                      <a:endParaRPr lang="en-US" sz="1400" b="0" i="0" baseline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46800">
                    <a:solidFill>
                      <a:srgbClr val="BECDD7"/>
                    </a:solidFill>
                  </a:tcPr>
                </a:tc>
              </a:tr>
              <a:tr h="374339">
                <a:tc>
                  <a:txBody>
                    <a:bodyPr/>
                    <a:lstStyle/>
                    <a:p>
                      <a:pPr marL="0" algn="l" defTabSz="914400">
                        <a:buNone/>
                      </a:pPr>
                      <a:r>
                        <a:rPr lang="ru-RU" sz="1400" b="0" i="0" dirty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Производственные</a:t>
                      </a:r>
                      <a:r>
                        <a:rPr lang="ru-RU" sz="1400" b="0" i="0" baseline="0" dirty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 и упаковочные</a:t>
                      </a:r>
                      <a:r>
                        <a:rPr lang="en-US" sz="1400" b="0" i="0" baseline="0" dirty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b="0" i="0" baseline="0" dirty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машины</a:t>
                      </a:r>
                      <a:r>
                        <a:rPr lang="en-US" sz="1400" b="0" i="0" dirty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,</a:t>
                      </a:r>
                      <a:r>
                        <a:rPr lang="ru-RU" sz="1400" b="0" i="0" baseline="0" dirty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 решения для складского хранения</a:t>
                      </a:r>
                      <a:r>
                        <a:rPr lang="en-US" sz="1400" b="0" i="0" dirty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400" b="0" i="0" baseline="0" dirty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b="0" i="0" baseline="0" dirty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обработка металлов давлением</a:t>
                      </a:r>
                      <a:endParaRPr lang="en-US" sz="1400" b="0" i="0" baseline="0" dirty="0">
                        <a:solidFill>
                          <a:srgbClr val="FFFFFF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1984" marR="121984">
                    <a:solidFill>
                      <a:srgbClr val="666666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" name="Inhaltsplatzhalter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20618439"/>
              </p:ext>
            </p:extLst>
          </p:nvPr>
        </p:nvGraphicFramePr>
        <p:xfrm>
          <a:off x="8691464" y="1412776"/>
          <a:ext cx="3024336" cy="29038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24336"/>
              </a:tblGrid>
              <a:tr h="494646">
                <a:tc>
                  <a:txBody>
                    <a:bodyPr/>
                    <a:lstStyle/>
                    <a:p>
                      <a:pPr marL="0" algn="ctr" defTabSz="914400">
                        <a:buNone/>
                      </a:pPr>
                      <a:r>
                        <a:rPr lang="ru-RU" sz="1400" b="1" i="0" dirty="0" smtClean="0">
                          <a:solidFill>
                            <a:schemeClr val="lt1"/>
                          </a:solidFill>
                          <a:latin typeface="Arial"/>
                          <a:ea typeface="+mn-ea"/>
                          <a:cs typeface="+mn-cs"/>
                        </a:rPr>
                        <a:t>Серво-моторы</a:t>
                      </a:r>
                      <a:r>
                        <a:rPr lang="ru-RU" sz="1400" b="1" i="0" baseline="0" dirty="0" smtClean="0">
                          <a:solidFill>
                            <a:schemeClr val="lt1"/>
                          </a:solidFill>
                          <a:latin typeface="Arial"/>
                          <a:ea typeface="+mn-ea"/>
                          <a:cs typeface="+mn-cs"/>
                        </a:rPr>
                        <a:t> с планетарными редукторами</a:t>
                      </a:r>
                      <a:endParaRPr lang="en-US" sz="1400" b="1" i="0" dirty="0">
                        <a:solidFill>
                          <a:schemeClr val="lt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1984" marR="121984"/>
                </a:tc>
              </a:tr>
              <a:tr h="744405">
                <a:tc>
                  <a:txBody>
                    <a:bodyPr/>
                    <a:lstStyle/>
                    <a:p>
                      <a:endParaRPr lang="en-US" sz="1400" dirty="0"/>
                    </a:p>
                  </a:txBody>
                  <a:tcPr marL="121984" marR="121984">
                    <a:solidFill>
                      <a:srgbClr val="BECDD7"/>
                    </a:solidFill>
                  </a:tcPr>
                </a:tc>
              </a:tr>
              <a:tr h="322096">
                <a:tc>
                  <a:txBody>
                    <a:bodyPr/>
                    <a:lstStyle/>
                    <a:p>
                      <a:pPr marL="0" algn="ctr" defTabSz="914400">
                        <a:buNone/>
                      </a:pPr>
                      <a:r>
                        <a:rPr lang="ru-RU" sz="1400" b="0" i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Альфа-планетарные редукторы</a:t>
                      </a:r>
                      <a:endParaRPr lang="en-US" sz="1400" b="0" i="0" dirty="0">
                        <a:solidFill>
                          <a:schemeClr val="dk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1984" marR="121984">
                    <a:solidFill>
                      <a:srgbClr val="BECDD7"/>
                    </a:solidFill>
                  </a:tcPr>
                </a:tc>
              </a:tr>
              <a:tr h="322096">
                <a:tc>
                  <a:txBody>
                    <a:bodyPr/>
                    <a:lstStyle/>
                    <a:p>
                      <a:pPr marL="0" algn="ctr" defTabSz="914400">
                        <a:buNone/>
                      </a:pPr>
                      <a:r>
                        <a:rPr lang="ru-RU" sz="1400" b="0" i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Серия</a:t>
                      </a:r>
                      <a:r>
                        <a:rPr lang="en-US" sz="1400" b="0" i="0" dirty="0" smtClean="0">
                          <a:solidFill>
                            <a:schemeClr val="dk1"/>
                          </a:solidFill>
                          <a:latin typeface="Arial"/>
                          <a:ea typeface="+mn-ea"/>
                          <a:cs typeface="+mn-cs"/>
                        </a:rPr>
                        <a:t>: SIMOTICS S</a:t>
                      </a:r>
                      <a:endParaRPr lang="en-US" sz="1400" b="0" i="0" dirty="0">
                        <a:solidFill>
                          <a:schemeClr val="dk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1984" marR="121984">
                    <a:solidFill>
                      <a:srgbClr val="BECDD7"/>
                    </a:solidFill>
                  </a:tcPr>
                </a:tc>
              </a:tr>
              <a:tr h="997077">
                <a:tc>
                  <a:txBody>
                    <a:bodyPr/>
                    <a:lstStyle/>
                    <a:p>
                      <a:pPr marL="0" algn="l" defTabSz="914400">
                        <a:buNone/>
                      </a:pPr>
                      <a:r>
                        <a:rPr lang="ru-RU" sz="1400" b="0" i="0" dirty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Станки</a:t>
                      </a:r>
                      <a:r>
                        <a:rPr lang="ru-RU" sz="1400" b="0" i="0" baseline="0" dirty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 с ЧПУ</a:t>
                      </a:r>
                      <a:r>
                        <a:rPr lang="en-US" sz="1400" b="0" i="0" dirty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400" b="0" i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деревообрабатывающие</a:t>
                      </a:r>
                      <a:r>
                        <a:rPr lang="ru-RU" sz="1400" b="0" i="0" baseline="0" dirty="0" smtClean="0">
                          <a:solidFill>
                            <a:srgbClr val="FFFFFF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b="0" i="0" baseline="0" dirty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и другие обрабатывающие машины</a:t>
                      </a:r>
                      <a:r>
                        <a:rPr lang="en-US" sz="1400" b="0" i="0" baseline="0" dirty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400" b="0" i="0" baseline="0" dirty="0" smtClean="0">
                          <a:solidFill>
                            <a:srgbClr val="FFFFFF"/>
                          </a:solidFill>
                          <a:latin typeface="Arial"/>
                          <a:ea typeface="+mn-ea"/>
                          <a:cs typeface="+mn-cs"/>
                        </a:rPr>
                        <a:t>поворотные столы</a:t>
                      </a:r>
                      <a:endParaRPr lang="en-US" sz="1400" b="0" i="0" baseline="0" dirty="0">
                        <a:solidFill>
                          <a:srgbClr val="FFFFFF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121984" marR="121984">
                    <a:solidFill>
                      <a:srgbClr val="666666"/>
                    </a:solidFill>
                  </a:tcPr>
                </a:tc>
              </a:tr>
            </a:tbl>
          </a:graphicData>
        </a:graphic>
      </p:graphicFrame>
      <p:pic>
        <p:nvPicPr>
          <p:cNvPr id="8" name="Grafik 2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26767" y="3212976"/>
            <a:ext cx="945970" cy="586502"/>
          </a:xfrm>
          <a:prstGeom prst="rect">
            <a:avLst/>
          </a:prstGeom>
        </p:spPr>
      </p:pic>
      <p:sp>
        <p:nvSpPr>
          <p:cNvPr id="9" name="Rechteck 29"/>
          <p:cNvSpPr/>
          <p:nvPr/>
        </p:nvSpPr>
        <p:spPr bwMode="auto">
          <a:xfrm>
            <a:off x="4947047" y="1949085"/>
            <a:ext cx="3195931" cy="3498057"/>
          </a:xfrm>
          <a:prstGeom prst="rect">
            <a:avLst/>
          </a:prstGeom>
          <a:noFill/>
          <a:ln w="57150">
            <a:solidFill>
              <a:srgbClr val="EB780A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pic>
        <p:nvPicPr>
          <p:cNvPr id="10" name="Picture 2" descr="D:\05.1-1FG1\g1-Unterlagen\Bilder\I_DT_SIMOTICS_SG-1FG1_Kegelradgetriebe_B29_Servomotor_1FK7G2_CT_AH48_Schraeg_sRGB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34074" y="2322367"/>
            <a:ext cx="873213" cy="663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5" descr="RZ_LW_1FK7042_sRGB"/>
          <p:cNvPicPr>
            <a:picLocks noChangeAspect="1" noChangeArrowheads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15365" y="2031485"/>
            <a:ext cx="513020" cy="525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6"/>
          <p:cNvPicPr>
            <a:picLocks noChangeAspect="1" noChangeArrowheads="1"/>
          </p:cNvPicPr>
          <p:nvPr/>
        </p:nvPicPr>
        <p:blipFill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16007" y="2027967"/>
            <a:ext cx="507704" cy="488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27"/>
          <p:cNvPicPr>
            <a:picLocks noChangeAspect="1" noChangeArrowheads="1"/>
          </p:cNvPicPr>
          <p:nvPr/>
        </p:nvPicPr>
        <p:blipFill>
          <a:blip r:embed="rId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914745" y="2033110"/>
            <a:ext cx="517008" cy="5317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49444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сё вращается вокруг высокой точности</a:t>
            </a:r>
            <a:endParaRPr lang="en-US" noProof="0" dirty="0"/>
          </a:p>
        </p:txBody>
      </p:sp>
      <p:sp>
        <p:nvSpPr>
          <p:cNvPr id="3" name="Inhaltsplatzhalter 3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627064" y="1412875"/>
            <a:ext cx="8208962" cy="431800"/>
          </a:xfrm>
          <a:prstGeom prst="rect">
            <a:avLst/>
          </a:prstGeom>
          <a:ln/>
        </p:spPr>
        <p:txBody>
          <a:bodyPr lIns="0" tIns="0" rIns="0" bIns="0"/>
          <a:lstStyle>
            <a:lvl1pPr marL="0" indent="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ru-RU" altLang="de-DE" b="1" kern="0" dirty="0" smtClean="0">
                <a:latin typeface="Arial" charset="0"/>
                <a:cs typeface="Arial" charset="0"/>
              </a:rPr>
              <a:t>Серво-моторы</a:t>
            </a:r>
            <a:r>
              <a:rPr lang="en-US" altLang="de-DE" b="1" kern="0" dirty="0" smtClean="0">
                <a:latin typeface="Arial" charset="0"/>
                <a:cs typeface="Arial" charset="0"/>
              </a:rPr>
              <a:t> SIMOTICS S-1FK7</a:t>
            </a:r>
            <a:endParaRPr lang="en-US" altLang="de-DE" b="1" kern="0" dirty="0">
              <a:latin typeface="Arial" charset="0"/>
              <a:cs typeface="Arial" charset="0"/>
            </a:endParaRPr>
          </a:p>
        </p:txBody>
      </p:sp>
      <p:grpSp>
        <p:nvGrpSpPr>
          <p:cNvPr id="4" name="Gruppieren 129023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626567" y="1845370"/>
            <a:ext cx="3600000" cy="1871662"/>
            <a:chOff x="-2047769" y="1843402"/>
            <a:chExt cx="3599461" cy="1872000"/>
          </a:xfrm>
        </p:grpSpPr>
        <p:sp>
          <p:nvSpPr>
            <p:cNvPr id="5" name="Rectangle 22"/>
            <p:cNvSpPr>
              <a:spLocks noChangeArrowheads="1"/>
            </p:cNvSpPr>
            <p:nvPr/>
          </p:nvSpPr>
          <p:spPr bwMode="auto">
            <a:xfrm>
              <a:off x="-2047769" y="1843402"/>
              <a:ext cx="3599461" cy="1872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587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36000" rIns="144000" bIns="36000"/>
            <a:lstStyle>
              <a:lvl1pPr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ru-RU" sz="1600" b="1" dirty="0">
                  <a:solidFill>
                    <a:srgbClr val="FFFFFF"/>
                  </a:solidFill>
                  <a:latin typeface="Arial"/>
                </a:rPr>
                <a:t>Точные диапазоны скорости и крутящего </a:t>
              </a:r>
              <a:r>
                <a:rPr lang="ru-RU" sz="1600" b="1" dirty="0" smtClean="0">
                  <a:solidFill>
                    <a:srgbClr val="FFFFFF"/>
                  </a:solidFill>
                  <a:latin typeface="Arial"/>
                </a:rPr>
                <a:t>момента</a:t>
              </a: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ru-RU" sz="1600" dirty="0">
                  <a:solidFill>
                    <a:srgbClr val="000000"/>
                  </a:solidFill>
                </a:rPr>
                <a:t>Затраты снижаются за </a:t>
              </a:r>
              <a:r>
                <a:rPr lang="ru-RU" sz="1600" dirty="0" smtClean="0">
                  <a:solidFill>
                    <a:srgbClr val="000000"/>
                  </a:solidFill>
                </a:rPr>
                <a:t>счёт </a:t>
              </a:r>
              <a:r>
                <a:rPr lang="ru-RU" sz="1600" dirty="0">
                  <a:solidFill>
                    <a:srgbClr val="000000"/>
                  </a:solidFill>
                </a:rPr>
                <a:t>оптимальной адаптации редуктора к </a:t>
              </a:r>
              <a:r>
                <a:rPr lang="ru-RU" sz="1600" dirty="0" smtClean="0">
                  <a:solidFill>
                    <a:srgbClr val="000000"/>
                  </a:solidFill>
                </a:rPr>
                <a:t>нагрузке:</a:t>
              </a:r>
            </a:p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ru-RU" sz="1600" dirty="0" smtClean="0">
                  <a:solidFill>
                    <a:srgbClr val="000000"/>
                  </a:solidFill>
                </a:rPr>
                <a:t>выходной скорости</a:t>
              </a:r>
              <a:endParaRPr lang="en-US" sz="1600" dirty="0" smtClean="0">
                <a:solidFill>
                  <a:srgbClr val="000000"/>
                </a:solidFill>
              </a:endParaRPr>
            </a:p>
            <a:p>
              <a:pPr marL="285750" indent="-285750"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 panose="020B0604020202020204" pitchFamily="34" charset="0"/>
                <a:buChar char="•"/>
              </a:pPr>
              <a:r>
                <a:rPr lang="ru-RU" sz="1600" dirty="0" smtClean="0">
                  <a:solidFill>
                    <a:srgbClr val="000000"/>
                  </a:solidFill>
                </a:rPr>
                <a:t>выходного момента</a:t>
              </a: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6" name="Rechteck 11"/>
            <p:cNvSpPr/>
            <p:nvPr/>
          </p:nvSpPr>
          <p:spPr bwMode="auto">
            <a:xfrm>
              <a:off x="1192106" y="1917946"/>
              <a:ext cx="287957" cy="287389"/>
            </a:xfrm>
            <a:prstGeom prst="rect">
              <a:avLst/>
            </a:prstGeom>
            <a:solidFill>
              <a:srgbClr val="AAB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108000" tIns="54000" rIns="108000" bIns="54000" spcCol="72000" anchor="ctr"/>
            <a:lstStyle/>
            <a:p>
              <a:pPr algn="ctr">
                <a:lnSpc>
                  <a:spcPct val="110000"/>
                </a:lnSpc>
                <a:buFont typeface="Wingdings" charset="0"/>
                <a:buNone/>
                <a:defRPr/>
              </a:pPr>
              <a:r>
                <a:rPr lang="en-US" b="1" dirty="0" smtClean="0">
                  <a:solidFill>
                    <a:srgbClr val="FFFFFF"/>
                  </a:solidFill>
                  <a:latin typeface="Arial" pitchFamily="34" charset="0"/>
                  <a:ea typeface="ＭＳ Ｐゴシック" charset="-128"/>
                  <a:cs typeface="+mn-cs"/>
                </a:rPr>
                <a:t>+</a:t>
              </a:r>
              <a:endParaRPr lang="en-US" b="1" dirty="0">
                <a:solidFill>
                  <a:srgbClr val="FFFFFF"/>
                </a:solidFill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</p:grpSp>
      <p:grpSp>
        <p:nvGrpSpPr>
          <p:cNvPr id="7" name="Gruppieren 8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626567" y="3860799"/>
            <a:ext cx="3600000" cy="2304000"/>
            <a:chOff x="-468108" y="3860798"/>
            <a:chExt cx="3599459" cy="2303362"/>
          </a:xfrm>
        </p:grpSpPr>
        <p:sp>
          <p:nvSpPr>
            <p:cNvPr id="8" name="Rectangle 22"/>
            <p:cNvSpPr>
              <a:spLocks noChangeArrowheads="1"/>
            </p:cNvSpPr>
            <p:nvPr/>
          </p:nvSpPr>
          <p:spPr bwMode="auto">
            <a:xfrm>
              <a:off x="-468108" y="3860798"/>
              <a:ext cx="3599459" cy="230336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587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36000" rIns="144000" bIns="36000"/>
            <a:lstStyle>
              <a:lvl1pPr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ru-RU" sz="1600" b="1" dirty="0" smtClean="0">
                  <a:solidFill>
                    <a:srgbClr val="FFFFFF"/>
                  </a:solidFill>
                  <a:latin typeface="Arial"/>
                </a:rPr>
                <a:t>Интеграция с </a:t>
              </a:r>
              <a:r>
                <a:rPr lang="en-US" sz="1600" b="1" dirty="0" smtClean="0">
                  <a:solidFill>
                    <a:srgbClr val="FFFFFF"/>
                  </a:solidFill>
                  <a:latin typeface="Arial"/>
                </a:rPr>
                <a:t>SINAMICS S</a:t>
              </a:r>
              <a:endParaRPr lang="en-US" sz="1600" dirty="0" smtClean="0">
                <a:solidFill>
                  <a:srgbClr val="000000"/>
                </a:solidFill>
                <a:cs typeface="Arial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ru-RU" sz="1600" dirty="0" smtClean="0">
                  <a:solidFill>
                    <a:srgbClr val="000000"/>
                  </a:solidFill>
                  <a:cs typeface="Arial"/>
                </a:rPr>
                <a:t>Использование электронных </a:t>
              </a:r>
              <a:r>
                <a:rPr lang="ru-RU" sz="1600" dirty="0" err="1" smtClean="0">
                  <a:solidFill>
                    <a:srgbClr val="000000"/>
                  </a:solidFill>
                  <a:cs typeface="Arial"/>
                </a:rPr>
                <a:t>шильдиков</a:t>
              </a:r>
              <a:r>
                <a:rPr lang="en-US" sz="1600" dirty="0" smtClean="0">
                  <a:solidFill>
                    <a:srgbClr val="000000"/>
                  </a:solidFill>
                  <a:cs typeface="Arial"/>
                </a:rPr>
                <a:t>, </a:t>
              </a:r>
              <a:r>
                <a:rPr lang="ru-RU" sz="1600" dirty="0" smtClean="0">
                  <a:solidFill>
                    <a:srgbClr val="000000"/>
                  </a:solidFill>
                  <a:cs typeface="Arial"/>
                </a:rPr>
                <a:t>полностью совместимы с </a:t>
              </a:r>
              <a:r>
                <a:rPr lang="en-US" sz="1600" dirty="0" smtClean="0">
                  <a:solidFill>
                    <a:srgbClr val="000000"/>
                  </a:solidFill>
                  <a:cs typeface="Arial"/>
                </a:rPr>
                <a:t>SINAMICS </a:t>
              </a: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en-US" sz="1600" dirty="0" smtClean="0">
                  <a:solidFill>
                    <a:srgbClr val="000000"/>
                  </a:solidFill>
                  <a:cs typeface="Arial"/>
                </a:rPr>
                <a:t>S120 </a:t>
              </a:r>
              <a:r>
                <a:rPr lang="ru-RU" sz="1600" dirty="0" smtClean="0">
                  <a:solidFill>
                    <a:srgbClr val="000000"/>
                  </a:solidFill>
                  <a:cs typeface="Arial"/>
                </a:rPr>
                <a:t>и </a:t>
              </a:r>
              <a:r>
                <a:rPr lang="en-US" sz="1600" dirty="0" smtClean="0">
                  <a:solidFill>
                    <a:srgbClr val="000000"/>
                  </a:solidFill>
                  <a:cs typeface="Arial"/>
                </a:rPr>
                <a:t>SINAMICS S110 </a:t>
              </a:r>
              <a:r>
                <a:rPr lang="ru-RU" sz="1600" dirty="0" smtClean="0">
                  <a:solidFill>
                    <a:srgbClr val="000000"/>
                  </a:solidFill>
                  <a:cs typeface="Arial"/>
                </a:rPr>
                <a:t>и готовы к быстрой пуско-наладки</a:t>
              </a:r>
              <a:endParaRPr lang="en-US" sz="1600" dirty="0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9" name="Rechteck 14"/>
            <p:cNvSpPr/>
            <p:nvPr/>
          </p:nvSpPr>
          <p:spPr bwMode="auto">
            <a:xfrm>
              <a:off x="2771765" y="3933035"/>
              <a:ext cx="287957" cy="287258"/>
            </a:xfrm>
            <a:prstGeom prst="rect">
              <a:avLst/>
            </a:prstGeom>
            <a:solidFill>
              <a:srgbClr val="AAB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108000" tIns="54000" rIns="108000" bIns="54000" spcCol="72000" anchor="ctr"/>
            <a:lstStyle/>
            <a:p>
              <a:pPr algn="ctr">
                <a:lnSpc>
                  <a:spcPct val="110000"/>
                </a:lnSpc>
                <a:buFont typeface="Wingdings" charset="0"/>
                <a:buNone/>
                <a:defRPr/>
              </a:pPr>
              <a:r>
                <a:rPr lang="en-US" b="1" dirty="0" smtClean="0">
                  <a:solidFill>
                    <a:srgbClr val="FFFFFF"/>
                  </a:solidFill>
                  <a:latin typeface="Arial" pitchFamily="34" charset="0"/>
                  <a:ea typeface="ＭＳ Ｐゴシック" charset="-128"/>
                  <a:cs typeface="+mn-cs"/>
                </a:rPr>
                <a:t>+</a:t>
              </a:r>
              <a:endParaRPr lang="en-US" b="1" dirty="0">
                <a:solidFill>
                  <a:srgbClr val="FFFFFF"/>
                </a:solidFill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</p:grpSp>
      <p:grpSp>
        <p:nvGrpSpPr>
          <p:cNvPr id="10" name="Gruppieren 9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8115798" y="3284562"/>
            <a:ext cx="3600000" cy="1296987"/>
            <a:chOff x="5148753" y="3294593"/>
            <a:chExt cx="3599462" cy="1296417"/>
          </a:xfrm>
        </p:grpSpPr>
        <p:sp>
          <p:nvSpPr>
            <p:cNvPr id="11" name="Rectangle 22"/>
            <p:cNvSpPr>
              <a:spLocks noChangeArrowheads="1"/>
            </p:cNvSpPr>
            <p:nvPr/>
          </p:nvSpPr>
          <p:spPr bwMode="auto">
            <a:xfrm>
              <a:off x="5148753" y="3294593"/>
              <a:ext cx="3599462" cy="129641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587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36000" rIns="144000" bIns="36000"/>
            <a:lstStyle>
              <a:lvl1pPr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ru-RU" sz="1600" b="1" dirty="0" smtClean="0">
                  <a:solidFill>
                    <a:srgbClr val="FFFFFF"/>
                  </a:solidFill>
                  <a:latin typeface="Arial"/>
                </a:rPr>
                <a:t>Габаритные размеры соответствуют требованиям рынка</a:t>
              </a:r>
              <a:endParaRPr lang="en-US" sz="1600" dirty="0" smtClean="0">
                <a:solidFill>
                  <a:srgbClr val="000000"/>
                </a:solidFill>
                <a:cs typeface="Arial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ru-RU" sz="1600" dirty="0" smtClean="0">
                  <a:solidFill>
                    <a:srgbClr val="000000"/>
                  </a:solidFill>
                  <a:cs typeface="Arial"/>
                </a:rPr>
                <a:t>Полностью совместимы с основными конкурентами</a:t>
              </a:r>
              <a:endParaRPr lang="en-US" sz="1600" dirty="0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12" name="Rechteck 17"/>
            <p:cNvSpPr/>
            <p:nvPr/>
          </p:nvSpPr>
          <p:spPr bwMode="auto">
            <a:xfrm>
              <a:off x="8388230" y="3364412"/>
              <a:ext cx="287957" cy="288798"/>
            </a:xfrm>
            <a:prstGeom prst="rect">
              <a:avLst/>
            </a:prstGeom>
            <a:solidFill>
              <a:srgbClr val="AAB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108000" tIns="54000" rIns="108000" bIns="54000" spcCol="72000" anchor="ctr"/>
            <a:lstStyle/>
            <a:p>
              <a:pPr algn="ctr">
                <a:lnSpc>
                  <a:spcPct val="110000"/>
                </a:lnSpc>
                <a:buFont typeface="Wingdings" charset="0"/>
                <a:buNone/>
                <a:defRPr/>
              </a:pPr>
              <a:r>
                <a:rPr lang="en-US" b="1" dirty="0" smtClean="0">
                  <a:solidFill>
                    <a:srgbClr val="FFFFFF"/>
                  </a:solidFill>
                  <a:latin typeface="Arial" pitchFamily="34" charset="0"/>
                  <a:ea typeface="ＭＳ Ｐゴシック" charset="-128"/>
                  <a:cs typeface="+mn-cs"/>
                </a:rPr>
                <a:t>+</a:t>
              </a:r>
              <a:endParaRPr lang="en-US" b="1" dirty="0">
                <a:solidFill>
                  <a:srgbClr val="FFFFFF"/>
                </a:solidFill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</p:grpSp>
      <p:grpSp>
        <p:nvGrpSpPr>
          <p:cNvPr id="13" name="Gruppieren 45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8115798" y="1844775"/>
            <a:ext cx="3600000" cy="1296988"/>
            <a:chOff x="5148851" y="3294593"/>
            <a:chExt cx="3599462" cy="1296417"/>
          </a:xfrm>
        </p:grpSpPr>
        <p:sp>
          <p:nvSpPr>
            <p:cNvPr id="14" name="Rectangle 22"/>
            <p:cNvSpPr>
              <a:spLocks noChangeArrowheads="1"/>
            </p:cNvSpPr>
            <p:nvPr/>
          </p:nvSpPr>
          <p:spPr bwMode="auto">
            <a:xfrm>
              <a:off x="5148851" y="3294593"/>
              <a:ext cx="3599462" cy="129641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587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36000" rIns="144000" bIns="36000"/>
            <a:lstStyle>
              <a:lvl1pPr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ru-RU" sz="1600" b="1" dirty="0" smtClean="0">
                  <a:solidFill>
                    <a:srgbClr val="FFFFFF"/>
                  </a:solidFill>
                  <a:latin typeface="Arial"/>
                </a:rPr>
                <a:t>Все четыре основных типа редукторов доступны</a:t>
              </a:r>
              <a:endParaRPr lang="en-US" sz="1600" dirty="0" smtClean="0">
                <a:solidFill>
                  <a:schemeClr val="dk1"/>
                </a:solidFill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ru-RU" sz="1600" dirty="0" smtClean="0">
                  <a:solidFill>
                    <a:schemeClr val="dk1"/>
                  </a:solidFill>
                </a:rPr>
                <a:t>Цилиндрические</a:t>
              </a:r>
              <a:r>
                <a:rPr lang="en-US" sz="1600" dirty="0" smtClean="0">
                  <a:solidFill>
                    <a:schemeClr val="dk1"/>
                  </a:solidFill>
                </a:rPr>
                <a:t>, </a:t>
              </a:r>
              <a:r>
                <a:rPr lang="ru-RU" sz="1600" dirty="0" smtClean="0">
                  <a:solidFill>
                    <a:schemeClr val="dk1"/>
                  </a:solidFill>
                </a:rPr>
                <a:t>плоские</a:t>
              </a:r>
              <a:r>
                <a:rPr lang="en-US" sz="1600" dirty="0" smtClean="0">
                  <a:solidFill>
                    <a:schemeClr val="dk1"/>
                  </a:solidFill>
                </a:rPr>
                <a:t>, </a:t>
              </a:r>
              <a:r>
                <a:rPr lang="ru-RU" sz="1600" dirty="0" smtClean="0">
                  <a:solidFill>
                    <a:schemeClr val="dk1"/>
                  </a:solidFill>
                </a:rPr>
                <a:t>конические</a:t>
              </a:r>
              <a:r>
                <a:rPr lang="en-US" sz="1600" dirty="0" smtClean="0">
                  <a:solidFill>
                    <a:schemeClr val="dk1"/>
                  </a:solidFill>
                </a:rPr>
                <a:t> </a:t>
              </a:r>
              <a:r>
                <a:rPr lang="ru-RU" sz="1600" dirty="0" smtClean="0">
                  <a:solidFill>
                    <a:schemeClr val="dk1"/>
                  </a:solidFill>
                </a:rPr>
                <a:t>и червячные</a:t>
              </a:r>
              <a:endParaRPr lang="en-US" sz="1600" dirty="0">
                <a:solidFill>
                  <a:schemeClr val="dk1"/>
                </a:solidFill>
              </a:endParaRPr>
            </a:p>
          </p:txBody>
        </p:sp>
        <p:sp>
          <p:nvSpPr>
            <p:cNvPr id="15" name="Rechteck 20"/>
            <p:cNvSpPr/>
            <p:nvPr/>
          </p:nvSpPr>
          <p:spPr bwMode="auto">
            <a:xfrm>
              <a:off x="8388328" y="3366340"/>
              <a:ext cx="287957" cy="288798"/>
            </a:xfrm>
            <a:prstGeom prst="rect">
              <a:avLst/>
            </a:prstGeom>
            <a:solidFill>
              <a:srgbClr val="AAB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108000" tIns="54000" rIns="108000" bIns="54000" spcCol="72000" anchor="ctr"/>
            <a:lstStyle/>
            <a:p>
              <a:pPr algn="ctr">
                <a:lnSpc>
                  <a:spcPct val="110000"/>
                </a:lnSpc>
                <a:buFont typeface="Wingdings" charset="0"/>
                <a:buNone/>
                <a:defRPr/>
              </a:pPr>
              <a:r>
                <a:rPr lang="en-US" b="1" dirty="0" smtClean="0">
                  <a:solidFill>
                    <a:srgbClr val="FFFFFF"/>
                  </a:solidFill>
                  <a:latin typeface="Arial" pitchFamily="34" charset="0"/>
                  <a:ea typeface="ＭＳ Ｐゴシック" charset="-128"/>
                  <a:cs typeface="+mn-cs"/>
                </a:rPr>
                <a:t>+</a:t>
              </a:r>
              <a:endParaRPr lang="en-US" b="1" dirty="0">
                <a:solidFill>
                  <a:srgbClr val="FFFFFF"/>
                </a:solidFill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</p:grpSp>
      <p:grpSp>
        <p:nvGrpSpPr>
          <p:cNvPr id="16" name="Gruppieren 17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8113598" y="4725260"/>
            <a:ext cx="3600000" cy="1440000"/>
            <a:chOff x="5148847" y="4739469"/>
            <a:chExt cx="3599459" cy="1439212"/>
          </a:xfrm>
        </p:grpSpPr>
        <p:sp>
          <p:nvSpPr>
            <p:cNvPr id="17" name="Rectangle 16"/>
            <p:cNvSpPr>
              <a:spLocks noChangeArrowheads="1"/>
            </p:cNvSpPr>
            <p:nvPr/>
          </p:nvSpPr>
          <p:spPr bwMode="auto">
            <a:xfrm>
              <a:off x="5148847" y="4739469"/>
              <a:ext cx="3599459" cy="143921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587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36000" rIns="144000" bIns="36000"/>
            <a:lstStyle>
              <a:lvl1pPr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ru-RU" sz="1600" b="1" dirty="0" smtClean="0">
                  <a:solidFill>
                    <a:srgbClr val="FFFFFF"/>
                  </a:solidFill>
                  <a:latin typeface="Arial"/>
                </a:rPr>
                <a:t>Компактная интеграция</a:t>
              </a:r>
              <a:endParaRPr lang="en-US" sz="1600" dirty="0" smtClean="0">
                <a:solidFill>
                  <a:schemeClr val="dk1"/>
                </a:solidFill>
                <a:latin typeface="Arial"/>
                <a:cs typeface="Arial"/>
              </a:endParaRPr>
            </a:p>
            <a:p>
              <a:pPr>
                <a:spcBef>
                  <a:spcPts val="0"/>
                </a:spcBef>
                <a:spcAft>
                  <a:spcPts val="0"/>
                </a:spcAft>
              </a:pPr>
              <a:r>
                <a:rPr lang="ru-RU" sz="1600" dirty="0" smtClean="0">
                  <a:solidFill>
                    <a:schemeClr val="dk1"/>
                  </a:solidFill>
                  <a:latin typeface="Arial"/>
                  <a:cs typeface="Arial"/>
                </a:rPr>
                <a:t>Мотор встроен в редуктор</a:t>
              </a:r>
              <a:r>
                <a:rPr lang="en-US" sz="1600" dirty="0" smtClean="0">
                  <a:solidFill>
                    <a:schemeClr val="dk1"/>
                  </a:solidFill>
                  <a:latin typeface="Arial"/>
                  <a:cs typeface="Arial"/>
                </a:rPr>
                <a:t>, </a:t>
              </a:r>
              <a:r>
                <a:rPr lang="ru-RU" sz="1600" dirty="0" smtClean="0">
                  <a:solidFill>
                    <a:schemeClr val="dk1"/>
                  </a:solidFill>
                  <a:latin typeface="Arial"/>
                  <a:cs typeface="Arial"/>
                </a:rPr>
                <a:t>вал мотора является первой ступенью редуктора</a:t>
              </a:r>
              <a:endParaRPr lang="en-US" sz="1600" dirty="0">
                <a:solidFill>
                  <a:schemeClr val="dk1"/>
                </a:solidFill>
                <a:latin typeface="Arial"/>
                <a:cs typeface="Arial"/>
              </a:endParaRPr>
            </a:p>
          </p:txBody>
        </p:sp>
        <p:sp>
          <p:nvSpPr>
            <p:cNvPr id="18" name="Rechteck 23"/>
            <p:cNvSpPr/>
            <p:nvPr/>
          </p:nvSpPr>
          <p:spPr bwMode="auto">
            <a:xfrm>
              <a:off x="8390521" y="4812454"/>
              <a:ext cx="287957" cy="288767"/>
            </a:xfrm>
            <a:prstGeom prst="rect">
              <a:avLst/>
            </a:prstGeom>
            <a:solidFill>
              <a:srgbClr val="AAB41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108000" tIns="54000" rIns="108000" bIns="54000" spcCol="72000" anchor="ctr"/>
            <a:lstStyle/>
            <a:p>
              <a:pPr algn="ctr">
                <a:lnSpc>
                  <a:spcPct val="110000"/>
                </a:lnSpc>
                <a:buFont typeface="Wingdings" charset="0"/>
                <a:buNone/>
                <a:defRPr/>
              </a:pPr>
              <a:r>
                <a:rPr lang="en-US" b="1" dirty="0" smtClean="0">
                  <a:solidFill>
                    <a:srgbClr val="FFFFFF"/>
                  </a:solidFill>
                  <a:latin typeface="Arial" pitchFamily="34" charset="0"/>
                  <a:ea typeface="ＭＳ Ｐゴシック" charset="-128"/>
                  <a:cs typeface="+mn-cs"/>
                </a:rPr>
                <a:t>+</a:t>
              </a:r>
              <a:endParaRPr lang="en-US" b="1" dirty="0">
                <a:solidFill>
                  <a:srgbClr val="FFFFFF"/>
                </a:solidFill>
                <a:latin typeface="Arial" pitchFamily="34" charset="0"/>
                <a:ea typeface="ＭＳ Ｐゴシック" charset="-128"/>
                <a:cs typeface="+mn-cs"/>
              </a:endParaRPr>
            </a:p>
          </p:txBody>
        </p:sp>
      </p:grpSp>
      <p:pic>
        <p:nvPicPr>
          <p:cNvPr id="19" name="Picture 4" descr="D:\05.0-1FG1\g1-Unterlagen\Bilder\04_PNGs\I_DT_SIMOTICS_SG-1FG1_Flachgetriebe_FZ29_Servomotor_1FK7G2_CT_AH63_LW_sRGB.pn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091063" y="1700808"/>
            <a:ext cx="2096299" cy="31015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43" descr="S120"/>
          <p:cNvPicPr preferRelativeResize="0"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74564" y="4946190"/>
            <a:ext cx="1150668" cy="1044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22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7" descr="CU305_FSA"/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95296" y="4733423"/>
            <a:ext cx="334611" cy="6619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5" descr="RZ_LW_PM240_FSE_CU310_DP_BOP_sRGB"/>
          <p:cNvPicPr>
            <a:picLocks noChangeAspect="1" noChangeArrowheads="1"/>
          </p:cNvPicPr>
          <p:nvPr/>
        </p:nvPicPr>
        <p:blipFill>
          <a:blip r:embed="rId11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70742" y="5233355"/>
            <a:ext cx="422864" cy="7400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0862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ектора и применения, примеры</a:t>
            </a:r>
            <a:endParaRPr lang="en-US" noProof="0" dirty="0"/>
          </a:p>
        </p:txBody>
      </p:sp>
      <p:sp>
        <p:nvSpPr>
          <p:cNvPr id="10" name="Inhaltsplatzhalter 3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627064" y="1412875"/>
            <a:ext cx="8208962" cy="431800"/>
          </a:xfrm>
          <a:prstGeom prst="rect">
            <a:avLst/>
          </a:prstGeom>
          <a:ln/>
        </p:spPr>
        <p:txBody>
          <a:bodyPr lIns="0" tIns="0" rIns="0" bIns="0"/>
          <a:lstStyle>
            <a:lvl1pPr marL="0" indent="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ru-RU" altLang="de-DE" b="1" kern="0" dirty="0" smtClean="0">
                <a:latin typeface="Arial" charset="0"/>
                <a:cs typeface="Arial" charset="0"/>
              </a:rPr>
              <a:t>Целевые отрасли </a:t>
            </a:r>
            <a:r>
              <a:rPr lang="en-US" altLang="de-DE" b="1" kern="0" dirty="0" smtClean="0">
                <a:latin typeface="Arial" charset="0"/>
                <a:cs typeface="Arial" charset="0"/>
              </a:rPr>
              <a:t>/</a:t>
            </a:r>
            <a:r>
              <a:rPr lang="ru-RU" altLang="de-DE" b="1" kern="0" dirty="0" smtClean="0">
                <a:latin typeface="Arial" charset="0"/>
                <a:cs typeface="Arial" charset="0"/>
              </a:rPr>
              <a:t> </a:t>
            </a:r>
            <a:r>
              <a:rPr lang="ru-RU" altLang="de-DE" b="1" kern="0" dirty="0" smtClean="0">
                <a:latin typeface="Arial" charset="0"/>
                <a:cs typeface="Arial" charset="0"/>
              </a:rPr>
              <a:t>примеры применения</a:t>
            </a:r>
            <a:endParaRPr lang="en-US" altLang="de-DE" b="1" kern="0" dirty="0">
              <a:latin typeface="Arial" charset="0"/>
              <a:cs typeface="Arial" charset="0"/>
            </a:endParaRPr>
          </a:p>
        </p:txBody>
      </p:sp>
      <p:graphicFrame>
        <p:nvGraphicFramePr>
          <p:cNvPr id="11" name="Content Placeholder 1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9296171"/>
              </p:ext>
            </p:extLst>
          </p:nvPr>
        </p:nvGraphicFramePr>
        <p:xfrm>
          <a:off x="8115799" y="1772816"/>
          <a:ext cx="3600000" cy="1368000"/>
        </p:xfrm>
        <a:graphic>
          <a:graphicData uri="http://schemas.openxmlformats.org/drawingml/2006/table">
            <a:tbl>
              <a:tblPr/>
              <a:tblGrid>
                <a:gridCol w="3600000"/>
              </a:tblGrid>
              <a:tr h="432000">
                <a:tc>
                  <a:txBody>
                    <a:bodyPr/>
                    <a:lstStyle>
                      <a:lvl1pPr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742950" indent="-28575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de-DE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Производство пластика</a:t>
                      </a:r>
                      <a:endParaRPr kumimoji="0" lang="en-US" altLang="de-DE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44000" marR="144000" marT="36000" marB="360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46E"/>
                    </a:solidFill>
                  </a:tcPr>
                </a:tc>
              </a:tr>
              <a:tr h="936000">
                <a:tc>
                  <a:txBody>
                    <a:bodyPr/>
                    <a:lstStyle>
                      <a:lvl1pPr marL="342900" indent="-3429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indent="-142875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C464B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altLang="de-DE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Машины литья под давлением</a:t>
                      </a:r>
                      <a:r>
                        <a:rPr kumimoji="0" lang="en-US" altLang="de-DE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:</a:t>
                      </a:r>
                    </a:p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C464B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altLang="de-DE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Основной и прижимной приводы</a:t>
                      </a:r>
                      <a:endParaRPr kumimoji="0" lang="en-US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44000" marR="144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2" name="Content Placeholder 11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8493726"/>
              </p:ext>
            </p:extLst>
          </p:nvPr>
        </p:nvGraphicFramePr>
        <p:xfrm>
          <a:off x="8115799" y="3285136"/>
          <a:ext cx="3600000" cy="1368000"/>
        </p:xfrm>
        <a:graphic>
          <a:graphicData uri="http://schemas.openxmlformats.org/drawingml/2006/table">
            <a:tbl>
              <a:tblPr/>
              <a:tblGrid>
                <a:gridCol w="3600000"/>
              </a:tblGrid>
              <a:tr h="432000">
                <a:tc>
                  <a:txBody>
                    <a:bodyPr/>
                    <a:lstStyle>
                      <a:lvl1pPr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742950" indent="-28575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de-DE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Дерево, стекло, керамика</a:t>
                      </a:r>
                      <a:endParaRPr kumimoji="0" lang="en-US" altLang="de-DE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44000" marR="144000" marT="36000" marB="360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46E"/>
                    </a:solidFill>
                  </a:tcPr>
                </a:tc>
              </a:tr>
              <a:tr h="936000">
                <a:tc>
                  <a:txBody>
                    <a:bodyPr/>
                    <a:lstStyle>
                      <a:lvl1pPr marL="342900" indent="-3429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indent="-142875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C464B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altLang="de-DE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Точный распил доски</a:t>
                      </a:r>
                      <a:endParaRPr kumimoji="0" lang="en-US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44000" marR="144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3" name="Content Placeholder 1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26529543"/>
              </p:ext>
            </p:extLst>
          </p:nvPr>
        </p:nvGraphicFramePr>
        <p:xfrm>
          <a:off x="8115799" y="4797152"/>
          <a:ext cx="3600000" cy="1368000"/>
        </p:xfrm>
        <a:graphic>
          <a:graphicData uri="http://schemas.openxmlformats.org/drawingml/2006/table">
            <a:tbl>
              <a:tblPr/>
              <a:tblGrid>
                <a:gridCol w="3600000"/>
              </a:tblGrid>
              <a:tr h="432000">
                <a:tc>
                  <a:txBody>
                    <a:bodyPr/>
                    <a:lstStyle>
                      <a:lvl1pPr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742950" indent="-28575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de-DE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Конвейерные применения</a:t>
                      </a:r>
                      <a:endParaRPr kumimoji="0" lang="en-US" altLang="de-DE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44000" marR="144000" marT="36000" marB="360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46E"/>
                    </a:solidFill>
                  </a:tcPr>
                </a:tc>
              </a:tr>
              <a:tr h="936000">
                <a:tc>
                  <a:txBody>
                    <a:bodyPr/>
                    <a:lstStyle>
                      <a:lvl1pPr marL="342900" indent="-3429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indent="-142875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C464B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altLang="de-DE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Позиционирующие ремни</a:t>
                      </a:r>
                      <a:r>
                        <a:rPr kumimoji="0" lang="en-US" altLang="de-DE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:</a:t>
                      </a:r>
                    </a:p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C464B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altLang="de-DE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Механические переключатели и вставные элементы</a:t>
                      </a:r>
                      <a:endParaRPr kumimoji="0" lang="en-US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44000" marR="144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4" name="Content Placeholder 1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33493729"/>
              </p:ext>
            </p:extLst>
          </p:nvPr>
        </p:nvGraphicFramePr>
        <p:xfrm>
          <a:off x="626567" y="1772816"/>
          <a:ext cx="3600000" cy="1368000"/>
        </p:xfrm>
        <a:graphic>
          <a:graphicData uri="http://schemas.openxmlformats.org/drawingml/2006/table">
            <a:tbl>
              <a:tblPr/>
              <a:tblGrid>
                <a:gridCol w="3600000"/>
              </a:tblGrid>
              <a:tr h="432000">
                <a:tc>
                  <a:txBody>
                    <a:bodyPr/>
                    <a:lstStyle>
                      <a:lvl1pPr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742950" indent="-28575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de-DE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Пищевая промышленность</a:t>
                      </a:r>
                      <a:endParaRPr kumimoji="0" lang="en-US" altLang="de-DE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44000" marR="144000" marT="36000" marB="360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46E"/>
                    </a:solidFill>
                  </a:tcPr>
                </a:tc>
              </a:tr>
              <a:tr h="936000">
                <a:tc>
                  <a:txBody>
                    <a:bodyPr/>
                    <a:lstStyle>
                      <a:lvl1pPr marL="342900" indent="-3429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indent="-142875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C464B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altLang="de-DE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Упаковочные машины:</a:t>
                      </a:r>
                      <a:endParaRPr kumimoji="0" lang="en-US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C464B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altLang="de-DE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Привод машины для сборки коробок</a:t>
                      </a:r>
                      <a:endParaRPr kumimoji="0" lang="en-US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44000" marR="144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5" name="Content Placeholder 1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688679321"/>
              </p:ext>
            </p:extLst>
          </p:nvPr>
        </p:nvGraphicFramePr>
        <p:xfrm>
          <a:off x="626567" y="3285136"/>
          <a:ext cx="3600000" cy="1368000"/>
        </p:xfrm>
        <a:graphic>
          <a:graphicData uri="http://schemas.openxmlformats.org/drawingml/2006/table">
            <a:tbl>
              <a:tblPr/>
              <a:tblGrid>
                <a:gridCol w="3600000"/>
              </a:tblGrid>
              <a:tr h="432000">
                <a:tc>
                  <a:txBody>
                    <a:bodyPr/>
                    <a:lstStyle>
                      <a:lvl1pPr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742950" indent="-28575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de-DE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Печатная промышленность</a:t>
                      </a:r>
                      <a:endParaRPr kumimoji="0" lang="en-US" altLang="de-DE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44000" marR="144000" marT="36000" marB="360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46E"/>
                    </a:solidFill>
                  </a:tcPr>
                </a:tc>
              </a:tr>
              <a:tr h="936000">
                <a:tc>
                  <a:txBody>
                    <a:bodyPr/>
                    <a:lstStyle>
                      <a:lvl1pPr marL="342900" indent="-3429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indent="-142875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C464B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altLang="de-DE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Принтеры</a:t>
                      </a:r>
                      <a:r>
                        <a:rPr kumimoji="0" lang="en-US" altLang="de-DE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:</a:t>
                      </a:r>
                    </a:p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C464B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altLang="de-DE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Вспомогательные приводы для намоточных машин и красок</a:t>
                      </a:r>
                      <a:endParaRPr kumimoji="0" lang="en-US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44000" marR="144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6" name="Content Placeholder 11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07425521"/>
              </p:ext>
            </p:extLst>
          </p:nvPr>
        </p:nvGraphicFramePr>
        <p:xfrm>
          <a:off x="626567" y="4797152"/>
          <a:ext cx="3600000" cy="1368000"/>
        </p:xfrm>
        <a:graphic>
          <a:graphicData uri="http://schemas.openxmlformats.org/drawingml/2006/table">
            <a:tbl>
              <a:tblPr/>
              <a:tblGrid>
                <a:gridCol w="3600000"/>
              </a:tblGrid>
              <a:tr h="432000">
                <a:tc>
                  <a:txBody>
                    <a:bodyPr/>
                    <a:lstStyle>
                      <a:lvl1pPr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742950" indent="-28575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de-DE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Логистика</a:t>
                      </a:r>
                      <a:endParaRPr kumimoji="0" lang="en-US" altLang="de-DE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44000" marR="144000" marT="36000" marB="360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46E"/>
                    </a:solidFill>
                  </a:tcPr>
                </a:tc>
              </a:tr>
              <a:tr h="936000">
                <a:tc>
                  <a:txBody>
                    <a:bodyPr/>
                    <a:lstStyle>
                      <a:lvl1pPr marL="342900" indent="-3429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indent="-142875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C464B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ru-RU" b="0" dirty="0" smtClean="0">
                          <a:solidFill>
                            <a:srgbClr val="000000"/>
                          </a:solidFill>
                          <a:effectLst/>
                        </a:rPr>
                        <a:t>Хранение и </a:t>
                      </a:r>
                      <a:r>
                        <a:rPr lang="ru-RU" b="0" dirty="0" smtClean="0">
                          <a:solidFill>
                            <a:srgbClr val="000000"/>
                          </a:solidFill>
                          <a:effectLst/>
                        </a:rPr>
                        <a:t>поиск</a:t>
                      </a:r>
                      <a:r>
                        <a:rPr kumimoji="0" lang="en-US" altLang="de-DE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:</a:t>
                      </a:r>
                    </a:p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3C464B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altLang="de-DE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Подъёмники</a:t>
                      </a:r>
                      <a:r>
                        <a:rPr kumimoji="0" lang="en-US" altLang="de-DE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, </a:t>
                      </a:r>
                      <a:r>
                        <a:rPr kumimoji="0" lang="ru-RU" altLang="de-DE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  <a:cs typeface="Arial" charset="0"/>
                        </a:rPr>
                        <a:t>приводы перемещения и забора груза</a:t>
                      </a:r>
                      <a:endParaRPr kumimoji="0" lang="en-US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144000" marR="144000" marT="36000" marB="36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pic>
        <p:nvPicPr>
          <p:cNvPr id="17" name="Picture 9" descr="D:\05.0-1FG1\g2-Ausarbeit\Folien-Vertrieb\Vertriebsfolien-kurz\S8PA1114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71" t="19454" r="-571" b="410"/>
          <a:stretch/>
        </p:blipFill>
        <p:spPr bwMode="auto">
          <a:xfrm>
            <a:off x="4370983" y="4797152"/>
            <a:ext cx="1728192" cy="1361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2" descr="SXXA0508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848" b="-426"/>
          <a:stretch/>
        </p:blipFill>
        <p:spPr bwMode="auto">
          <a:xfrm>
            <a:off x="6243638" y="4797152"/>
            <a:ext cx="1727200" cy="1368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8" descr="SXXN2241_02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3" r="-133"/>
          <a:stretch/>
        </p:blipFill>
        <p:spPr bwMode="auto">
          <a:xfrm>
            <a:off x="6243638" y="3258113"/>
            <a:ext cx="1727200" cy="1365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5" descr="D:\05.0-1FG1\g2-Ausarbeit\Marketing\Fachartikel\Rotogravure ELS machine-1.jpg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399" b="2019"/>
          <a:stretch/>
        </p:blipFill>
        <p:spPr bwMode="auto">
          <a:xfrm>
            <a:off x="4370983" y="3285136"/>
            <a:ext cx="1728192" cy="1338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9" descr="C:\Users\hecksasc\Desktop\untitled.bmp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4370983" y="1772816"/>
            <a:ext cx="1728192" cy="1368000"/>
          </a:xfrm>
          <a:prstGeom prst="rect">
            <a:avLst/>
          </a:prstGeom>
          <a:noFill/>
        </p:spPr>
      </p:pic>
      <p:pic>
        <p:nvPicPr>
          <p:cNvPr id="22" name="Picture 3" descr="D:\05.0-1FG1\g2-Ausarbeit\Folien-Vertrieb\Folien-Zulief-Mech-NW\e1-Kunststoff--SGM_kraussmaffei-ex-baureihe.jpg"/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335" t="12494" b="40495"/>
          <a:stretch/>
        </p:blipFill>
        <p:spPr bwMode="auto">
          <a:xfrm>
            <a:off x="6243638" y="1772816"/>
            <a:ext cx="1727200" cy="13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519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истемные аспекты</a:t>
            </a:r>
            <a:endParaRPr lang="en-US" noProof="0" dirty="0"/>
          </a:p>
        </p:txBody>
      </p:sp>
      <p:sp>
        <p:nvSpPr>
          <p:cNvPr id="23" name="Inhaltsplatzhalter 3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627064" y="1412875"/>
            <a:ext cx="8208962" cy="431800"/>
          </a:xfrm>
          <a:prstGeom prst="rect">
            <a:avLst/>
          </a:prstGeom>
          <a:ln/>
        </p:spPr>
        <p:txBody>
          <a:bodyPr lIns="0" tIns="0" rIns="0" bIns="0"/>
          <a:lstStyle>
            <a:lvl1pPr marL="0" indent="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pitchFamily="34" charset="0"/>
              <a:buNone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79388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358775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538163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717550" indent="-177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tabLst/>
              <a:defRPr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2207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6pPr>
            <a:lvl7pPr marL="16779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7pPr>
            <a:lvl8pPr marL="21351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8pPr>
            <a:lvl9pPr marL="2592388" indent="-188913" algn="l" rtl="0" eaLnBrk="1" fontAlgn="base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Wingdings" charset="0"/>
              <a:buChar char="§"/>
              <a:defRPr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r>
              <a:rPr lang="ru-RU" altLang="de-DE" b="1" kern="0" dirty="0">
                <a:latin typeface="Arial" charset="0"/>
                <a:cs typeface="Arial" charset="0"/>
              </a:rPr>
              <a:t>Д</a:t>
            </a:r>
            <a:r>
              <a:rPr lang="ru-RU" altLang="de-DE" b="1" kern="0" dirty="0" smtClean="0">
                <a:latin typeface="Arial" charset="0"/>
                <a:cs typeface="Arial" charset="0"/>
              </a:rPr>
              <a:t>обавленная стоимость за счёт</a:t>
            </a:r>
            <a:endParaRPr lang="en-US" altLang="de-DE" b="1" kern="0" dirty="0">
              <a:latin typeface="Arial" charset="0"/>
              <a:cs typeface="Arial" charset="0"/>
            </a:endParaRPr>
          </a:p>
        </p:txBody>
      </p:sp>
      <p:grpSp>
        <p:nvGrpSpPr>
          <p:cNvPr id="24" name="Gruppieren 1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6243158" y="1412776"/>
            <a:ext cx="5472000" cy="1511846"/>
            <a:chOff x="3276383" y="1412875"/>
            <a:chExt cx="5471689" cy="1511751"/>
          </a:xfrm>
        </p:grpSpPr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3276383" y="1412875"/>
              <a:ext cx="5471689" cy="151175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587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36000" rIns="144000" bIns="36000"/>
            <a:lstStyle>
              <a:lvl1pPr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>
                  <a:schemeClr val="accent2"/>
                </a:buClr>
              </a:pPr>
              <a:r>
                <a:rPr lang="ru-RU" altLang="de-DE" sz="1600" b="1" dirty="0" smtClean="0">
                  <a:solidFill>
                    <a:srgbClr val="000000"/>
                  </a:solidFill>
                </a:rPr>
                <a:t>Серво-мотор-редуктор</a:t>
              </a:r>
              <a:endParaRPr lang="en-US" altLang="de-DE" sz="1600" b="1" dirty="0">
                <a:solidFill>
                  <a:srgbClr val="000000"/>
                </a:solidFill>
              </a:endParaRPr>
            </a:p>
            <a:p>
              <a:pPr marL="285750" indent="-285750" eaLnBrk="1" hangingPunct="1">
                <a:spcBef>
                  <a:spcPct val="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</a:pPr>
              <a:r>
                <a:rPr lang="ru-RU" altLang="de-DE" sz="1600" dirty="0" smtClean="0">
                  <a:solidFill>
                    <a:srgbClr val="000000"/>
                  </a:solidFill>
                </a:rPr>
                <a:t>Собран из хорошо зарекомендовавших себя продуктов: </a:t>
              </a:r>
              <a:r>
                <a:rPr lang="en-US" altLang="de-DE" sz="1600" dirty="0" smtClean="0">
                  <a:solidFill>
                    <a:srgbClr val="000000"/>
                  </a:solidFill>
                </a:rPr>
                <a:t>SIMOTICS S-1FK7</a:t>
              </a:r>
              <a:r>
                <a:rPr lang="ru-RU" altLang="de-DE" sz="1600" dirty="0" smtClean="0">
                  <a:solidFill>
                    <a:srgbClr val="000000"/>
                  </a:solidFill>
                </a:rPr>
                <a:t> + </a:t>
              </a:r>
              <a:r>
                <a:rPr lang="en-US" altLang="de-DE" sz="1600" dirty="0" smtClean="0">
                  <a:solidFill>
                    <a:srgbClr val="000000"/>
                  </a:solidFill>
                </a:rPr>
                <a:t>SIMOGEAR</a:t>
              </a:r>
            </a:p>
            <a:p>
              <a:pPr marL="285750" indent="-285750" eaLnBrk="1" hangingPunct="1">
                <a:spcBef>
                  <a:spcPct val="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</a:pPr>
              <a:r>
                <a:rPr lang="ru-RU" altLang="de-DE" sz="1600" dirty="0" smtClean="0">
                  <a:solidFill>
                    <a:srgbClr val="000000"/>
                  </a:solidFill>
                </a:rPr>
                <a:t>Моторы и </a:t>
              </a:r>
              <a:r>
                <a:rPr lang="en-US" altLang="de-DE" sz="1600" dirty="0" smtClean="0">
                  <a:solidFill>
                    <a:srgbClr val="000000"/>
                  </a:solidFill>
                </a:rPr>
                <a:t>DRIVE-</a:t>
              </a:r>
              <a:r>
                <a:rPr lang="en-US" altLang="de-DE" sz="1600" dirty="0" err="1" smtClean="0">
                  <a:solidFill>
                    <a:srgbClr val="000000"/>
                  </a:solidFill>
                </a:rPr>
                <a:t>CLiQ</a:t>
              </a:r>
              <a:r>
                <a:rPr lang="ru-RU" altLang="de-DE" sz="1600" dirty="0" smtClean="0">
                  <a:solidFill>
                    <a:srgbClr val="000000"/>
                  </a:solidFill>
                </a:rPr>
                <a:t> – </a:t>
              </a:r>
              <a:r>
                <a:rPr lang="ru-RU" altLang="de-DE" sz="1600" dirty="0" err="1" smtClean="0">
                  <a:solidFill>
                    <a:srgbClr val="000000"/>
                  </a:solidFill>
                </a:rPr>
                <a:t>энкодеры</a:t>
              </a:r>
              <a:r>
                <a:rPr lang="ru-RU" altLang="de-DE" sz="1600" dirty="0" smtClean="0">
                  <a:solidFill>
                    <a:srgbClr val="000000"/>
                  </a:solidFill>
                </a:rPr>
                <a:t> такие же как </a:t>
              </a:r>
              <a:r>
                <a:rPr lang="en-US" altLang="de-DE" sz="1600" dirty="0" smtClean="0">
                  <a:solidFill>
                    <a:srgbClr val="000000"/>
                  </a:solidFill>
                </a:rPr>
                <a:t>SIMOTICS </a:t>
              </a:r>
              <a:r>
                <a:rPr lang="en-US" altLang="de-DE" sz="1600" dirty="0">
                  <a:solidFill>
                    <a:srgbClr val="000000"/>
                  </a:solidFill>
                </a:rPr>
                <a:t>S-1FK7</a:t>
              </a:r>
            </a:p>
          </p:txBody>
        </p:sp>
        <p:pic>
          <p:nvPicPr>
            <p:cNvPr id="26" name="Picture 7" descr="C:\Documents and Settings\demo\Desktop\SIE_Icon_Bibliothek\SIM_PPT_icon_status_red-green_yes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8000" y="1484875"/>
              <a:ext cx="288000" cy="288000"/>
            </a:xfrm>
            <a:prstGeom prst="rect">
              <a:avLst/>
            </a:prstGeom>
            <a:solidFill>
              <a:srgbClr val="50BE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7" name="Gruppieren 2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6243025" y="3140968"/>
            <a:ext cx="5471999" cy="1504628"/>
            <a:chOff x="3275493" y="2571744"/>
            <a:chExt cx="5472446" cy="1504636"/>
          </a:xfrm>
        </p:grpSpPr>
        <p:sp>
          <p:nvSpPr>
            <p:cNvPr id="28" name="Rectangle 22"/>
            <p:cNvSpPr>
              <a:spLocks noChangeArrowheads="1"/>
            </p:cNvSpPr>
            <p:nvPr/>
          </p:nvSpPr>
          <p:spPr bwMode="auto">
            <a:xfrm>
              <a:off x="3275493" y="2571744"/>
              <a:ext cx="5472446" cy="150463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587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36000" rIns="144000" bIns="36000"/>
            <a:lstStyle>
              <a:lvl1pPr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>
                  <a:schemeClr val="accent2"/>
                </a:buClr>
              </a:pPr>
              <a:r>
                <a:rPr lang="ru-RU" altLang="de-DE" sz="1600" b="1" dirty="0" smtClean="0">
                  <a:solidFill>
                    <a:srgbClr val="000000"/>
                  </a:solidFill>
                </a:rPr>
                <a:t>Интеграция в общий привод с </a:t>
              </a:r>
              <a:r>
                <a:rPr lang="en-US" altLang="de-DE" sz="1600" b="1" dirty="0" smtClean="0">
                  <a:solidFill>
                    <a:srgbClr val="000000"/>
                  </a:solidFill>
                </a:rPr>
                <a:t>IDS</a:t>
              </a:r>
              <a:r>
                <a:rPr lang="ru-RU" altLang="de-DE" sz="1600" b="1" dirty="0" smtClean="0">
                  <a:solidFill>
                    <a:srgbClr val="000000"/>
                  </a:solidFill>
                </a:rPr>
                <a:t> и </a:t>
              </a:r>
              <a:r>
                <a:rPr lang="en-US" altLang="de-DE" sz="1600" b="1" dirty="0" smtClean="0">
                  <a:solidFill>
                    <a:srgbClr val="000000"/>
                  </a:solidFill>
                </a:rPr>
                <a:t>TIA</a:t>
              </a:r>
              <a:endParaRPr lang="en-US" altLang="de-DE" sz="1600" b="1" dirty="0">
                <a:solidFill>
                  <a:srgbClr val="000000"/>
                </a:solidFill>
              </a:endParaRPr>
            </a:p>
            <a:p>
              <a:pPr marL="285750" indent="-285750" eaLnBrk="1" hangingPunct="1">
                <a:spcBef>
                  <a:spcPct val="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</a:pPr>
              <a:r>
                <a:rPr lang="ru-RU" altLang="de-DE" sz="1600" dirty="0" smtClean="0">
                  <a:solidFill>
                    <a:srgbClr val="000000"/>
                  </a:solidFill>
                </a:rPr>
                <a:t>Все компоненты от </a:t>
              </a:r>
              <a:r>
                <a:rPr lang="en-US" altLang="de-DE" sz="1600" dirty="0" smtClean="0">
                  <a:solidFill>
                    <a:srgbClr val="000000"/>
                  </a:solidFill>
                </a:rPr>
                <a:t>Siemens</a:t>
              </a:r>
              <a:endParaRPr lang="en-US" altLang="de-DE" sz="1600" dirty="0">
                <a:solidFill>
                  <a:srgbClr val="000000"/>
                </a:solidFill>
              </a:endParaRPr>
            </a:p>
            <a:p>
              <a:pPr marL="285750" indent="-285750" eaLnBrk="1" hangingPunct="1">
                <a:spcBef>
                  <a:spcPct val="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</a:pPr>
              <a:r>
                <a:rPr lang="ru-RU" altLang="de-DE" sz="1600" dirty="0" smtClean="0">
                  <a:solidFill>
                    <a:srgbClr val="000000"/>
                  </a:solidFill>
                </a:rPr>
                <a:t>Стандартные инструменты, например</a:t>
              </a:r>
              <a:r>
                <a:rPr lang="en-US" altLang="de-DE" sz="1600" dirty="0" smtClean="0">
                  <a:solidFill>
                    <a:srgbClr val="000000"/>
                  </a:solidFill>
                </a:rPr>
                <a:t>, STARTER</a:t>
              </a:r>
              <a:endParaRPr lang="en-US" altLang="de-DE" sz="1600" dirty="0">
                <a:solidFill>
                  <a:srgbClr val="000000"/>
                </a:solidFill>
              </a:endParaRPr>
            </a:p>
            <a:p>
              <a:pPr marL="285750" indent="-285750" eaLnBrk="1" hangingPunct="1">
                <a:spcBef>
                  <a:spcPct val="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</a:pPr>
              <a:r>
                <a:rPr lang="ru-RU" altLang="de-DE" sz="1600" dirty="0" smtClean="0">
                  <a:solidFill>
                    <a:srgbClr val="000000"/>
                  </a:solidFill>
                </a:rPr>
                <a:t>Встроенные функции безопасности (</a:t>
              </a:r>
              <a:r>
                <a:rPr lang="en-US" altLang="de-DE" sz="1600" dirty="0" smtClean="0">
                  <a:solidFill>
                    <a:srgbClr val="000000"/>
                  </a:solidFill>
                </a:rPr>
                <a:t>Safety Integrated</a:t>
              </a:r>
              <a:r>
                <a:rPr lang="ru-RU" altLang="de-DE" sz="1600" dirty="0" smtClean="0">
                  <a:solidFill>
                    <a:srgbClr val="000000"/>
                  </a:solidFill>
                </a:rPr>
                <a:t>)</a:t>
              </a:r>
              <a:endParaRPr lang="en-US" altLang="de-DE" sz="1600" dirty="0">
                <a:solidFill>
                  <a:srgbClr val="000000"/>
                </a:solidFill>
              </a:endParaRPr>
            </a:p>
          </p:txBody>
        </p:sp>
        <p:pic>
          <p:nvPicPr>
            <p:cNvPr id="29" name="Picture 7" descr="C:\Documents and Settings\demo\Desktop\SIE_Icon_Bibliothek\SIM_PPT_icon_status_red-green_yes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8000" y="2643182"/>
              <a:ext cx="288000" cy="28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0" name="Gruppieren 3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6243230" y="4869200"/>
            <a:ext cx="5472000" cy="1295060"/>
            <a:chOff x="3276898" y="4293045"/>
            <a:chExt cx="5471247" cy="1295294"/>
          </a:xfrm>
        </p:grpSpPr>
        <p:sp>
          <p:nvSpPr>
            <p:cNvPr id="31" name="Rectangle 22"/>
            <p:cNvSpPr>
              <a:spLocks noChangeArrowheads="1"/>
            </p:cNvSpPr>
            <p:nvPr/>
          </p:nvSpPr>
          <p:spPr bwMode="auto">
            <a:xfrm>
              <a:off x="3276898" y="4293045"/>
              <a:ext cx="5471247" cy="129529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587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44000" tIns="36000" rIns="144000" bIns="36000"/>
            <a:lstStyle>
              <a:lvl1pPr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 eaLnBrk="0" hangingPunct="0">
                <a:spcBef>
                  <a:spcPct val="50000"/>
                </a:spcBef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defRPr>
                  <a:solidFill>
                    <a:schemeClr val="bg2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Clr>
                  <a:schemeClr val="accent2"/>
                </a:buClr>
              </a:pPr>
              <a:r>
                <a:rPr lang="ru-RU" altLang="de-DE" sz="1600" b="1" dirty="0" smtClean="0">
                  <a:solidFill>
                    <a:srgbClr val="000000"/>
                  </a:solidFill>
                </a:rPr>
                <a:t>Инжиниринг</a:t>
              </a:r>
              <a:r>
                <a:rPr lang="en-US" altLang="de-DE" sz="1600" b="1" dirty="0" smtClean="0">
                  <a:solidFill>
                    <a:srgbClr val="000000"/>
                  </a:solidFill>
                </a:rPr>
                <a:t>:</a:t>
              </a:r>
              <a:endParaRPr lang="en-US" altLang="de-DE" sz="1600" b="1" dirty="0">
                <a:solidFill>
                  <a:srgbClr val="000000"/>
                </a:solidFill>
              </a:endParaRPr>
            </a:p>
            <a:p>
              <a:pPr marL="285750" indent="-285750" eaLnBrk="1" hangingPunct="1">
                <a:spcBef>
                  <a:spcPct val="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</a:pPr>
              <a:r>
                <a:rPr lang="en-US" altLang="de-DE" sz="1600" dirty="0" smtClean="0">
                  <a:solidFill>
                    <a:srgbClr val="000000"/>
                  </a:solidFill>
                </a:rPr>
                <a:t>SIZER </a:t>
              </a:r>
              <a:r>
                <a:rPr lang="ru-RU" altLang="de-DE" sz="1600" dirty="0" smtClean="0">
                  <a:solidFill>
                    <a:srgbClr val="000000"/>
                  </a:solidFill>
                </a:rPr>
                <a:t>позволяет подготовить готовый проект</a:t>
              </a:r>
              <a:endParaRPr lang="en-US" altLang="de-DE" sz="1600" dirty="0">
                <a:solidFill>
                  <a:srgbClr val="000000"/>
                </a:solidFill>
              </a:endParaRPr>
            </a:p>
            <a:p>
              <a:pPr marL="285750" indent="-285750" eaLnBrk="1" hangingPunct="1">
                <a:spcBef>
                  <a:spcPct val="0"/>
                </a:spcBef>
                <a:buClr>
                  <a:schemeClr val="tx1"/>
                </a:buClr>
                <a:buFont typeface="Arial" panose="020B0604020202020204" pitchFamily="34" charset="0"/>
                <a:buChar char="•"/>
              </a:pPr>
              <a:r>
                <a:rPr lang="en-US" altLang="de-DE" sz="1600" dirty="0" smtClean="0">
                  <a:solidFill>
                    <a:srgbClr val="000000"/>
                  </a:solidFill>
                </a:rPr>
                <a:t>DT Configurator</a:t>
              </a:r>
              <a:r>
                <a:rPr lang="ru-RU" altLang="de-DE" sz="1600" dirty="0" smtClean="0">
                  <a:solidFill>
                    <a:srgbClr val="000000"/>
                  </a:solidFill>
                </a:rPr>
                <a:t> позволяет загрузить всю необходимую информацию (габариты, </a:t>
              </a:r>
              <a:r>
                <a:rPr lang="en-US" altLang="de-DE" sz="1600" dirty="0" smtClean="0">
                  <a:solidFill>
                    <a:srgbClr val="000000"/>
                  </a:solidFill>
                </a:rPr>
                <a:t>CAD-</a:t>
              </a:r>
              <a:r>
                <a:rPr lang="ru-RU" altLang="de-DE" sz="1600" dirty="0" smtClean="0">
                  <a:solidFill>
                    <a:srgbClr val="000000"/>
                  </a:solidFill>
                </a:rPr>
                <a:t>модели и </a:t>
              </a:r>
              <a:r>
                <a:rPr lang="ru-RU" altLang="de-DE" sz="1600" dirty="0" err="1" smtClean="0">
                  <a:solidFill>
                    <a:srgbClr val="000000"/>
                  </a:solidFill>
                </a:rPr>
                <a:t>т.д</a:t>
              </a:r>
              <a:r>
                <a:rPr lang="ru-RU" altLang="de-DE" sz="1600" dirty="0" smtClean="0">
                  <a:solidFill>
                    <a:srgbClr val="000000"/>
                  </a:solidFill>
                </a:rPr>
                <a:t>)</a:t>
              </a:r>
              <a:endParaRPr lang="en-US" altLang="de-DE" sz="1600" dirty="0">
                <a:solidFill>
                  <a:srgbClr val="000000"/>
                </a:solidFill>
              </a:endParaRPr>
            </a:p>
          </p:txBody>
        </p:sp>
        <p:pic>
          <p:nvPicPr>
            <p:cNvPr id="32" name="Picture 7" descr="C:\Documents and Settings\demo\Desktop\SIE_Icon_Bibliothek\SIM_PPT_icon_status_red-green_yes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388000" y="4365110"/>
              <a:ext cx="288000" cy="28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33" name="Picture 6" descr="D:\05.0-1FG1\g2-Ausarbeit\Folien-Vertrieb\Vertriebsfolien-kurz\P_D011_XX_00639P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6727" y="3287237"/>
            <a:ext cx="1544493" cy="1437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8" descr="D:\05.0-1FG1\g1-Unterlagen\Bilder\04_PNGs\I_DT_Gruppe_SIMOTICS_Servogetriebemotoren_Style_01_sRGB.pn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01" t="8852" r="9655" b="18174"/>
          <a:stretch/>
        </p:blipFill>
        <p:spPr bwMode="auto">
          <a:xfrm>
            <a:off x="2066727" y="1775069"/>
            <a:ext cx="1656184" cy="13105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1024930">
            <a:off x="1081787" y="4944493"/>
            <a:ext cx="1516411" cy="7384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66727" y="4986441"/>
            <a:ext cx="1536164" cy="1146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87269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стая интеграция</a:t>
            </a:r>
            <a:endParaRPr lang="en-US" noProof="0" dirty="0"/>
          </a:p>
        </p:txBody>
      </p:sp>
      <p:sp>
        <p:nvSpPr>
          <p:cNvPr id="17" name="Inhaltsplatzhalter 3"/>
          <p:cNvSpPr txBox="1">
            <a:spLocks/>
          </p:cNvSpPr>
          <p:nvPr/>
        </p:nvSpPr>
        <p:spPr bwMode="auto">
          <a:xfrm>
            <a:off x="720042" y="1412875"/>
            <a:ext cx="1095098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>
            <a:lvl1pPr eaLnBrk="0" hangingPunct="0">
              <a:lnSpc>
                <a:spcPct val="110000"/>
              </a:lnSpc>
              <a:buClr>
                <a:schemeClr val="accent1"/>
              </a:buClr>
              <a:buFont typeface="Arial" charset="0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1pPr>
            <a:lvl2pPr marL="179388" indent="-1778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2pPr>
            <a:lvl3pPr marL="358775" indent="-1778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3pPr>
            <a:lvl4pPr marL="538163" indent="-1778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4pPr>
            <a:lvl5pPr marL="717550" indent="-1778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5pPr>
            <a:lvl6pPr marL="1174750" indent="-1778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6pPr>
            <a:lvl7pPr marL="1631950" indent="-1778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7pPr>
            <a:lvl8pPr marL="2089150" indent="-1778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8pPr>
            <a:lvl9pPr marL="2546350" indent="-1778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Arial" charset="0"/>
              </a:defRPr>
            </a:lvl9pPr>
          </a:lstStyle>
          <a:p>
            <a:pPr algn="l">
              <a:buNone/>
            </a:pPr>
            <a:r>
              <a:rPr lang="ru-RU" altLang="de-DE" b="1" i="0" dirty="0" smtClean="0">
                <a:latin typeface="Arial"/>
                <a:ea typeface="ＭＳ Ｐゴシック"/>
                <a:cs typeface="+mn-cs"/>
              </a:rPr>
              <a:t>Основные пункты</a:t>
            </a:r>
            <a:endParaRPr lang="en-US" altLang="de-DE" b="1" i="0" dirty="0">
              <a:latin typeface="Arial"/>
              <a:ea typeface="ＭＳ Ｐゴシック"/>
              <a:cs typeface="+mn-cs"/>
            </a:endParaRPr>
          </a:p>
        </p:txBody>
      </p:sp>
      <p:graphicFrame>
        <p:nvGraphicFramePr>
          <p:cNvPr id="18" name="Inhaltsplatzhalter 11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5791004"/>
              </p:ext>
            </p:extLst>
          </p:nvPr>
        </p:nvGraphicFramePr>
        <p:xfrm>
          <a:off x="4370388" y="1700213"/>
          <a:ext cx="7344000" cy="4446951"/>
        </p:xfrm>
        <a:graphic>
          <a:graphicData uri="http://schemas.openxmlformats.org/drawingml/2006/table">
            <a:tbl>
              <a:tblPr/>
              <a:tblGrid>
                <a:gridCol w="3456000"/>
                <a:gridCol w="432000"/>
                <a:gridCol w="3456000"/>
              </a:tblGrid>
              <a:tr h="432000">
                <a:tc>
                  <a:txBody>
                    <a:bodyPr/>
                    <a:lstStyle>
                      <a:lvl1pPr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742950" indent="-28575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altLang="de-DE" sz="16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Особенности</a:t>
                      </a:r>
                      <a:endParaRPr lang="en-US" altLang="de-DE" sz="1600" b="1" i="0" u="none" strike="noStrike" cap="none" baseline="0" dirty="0">
                        <a:solidFill>
                          <a:srgbClr val="FFFFFF"/>
                        </a:solidFill>
                        <a:effectLst/>
                        <a:latin typeface="Arial"/>
                        <a:ea typeface="ＭＳ Ｐゴシック"/>
                        <a:cs typeface="Arial"/>
                      </a:endParaRPr>
                    </a:p>
                  </a:txBody>
                  <a:tcPr marL="108000" marR="108000" marT="54000" marB="540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46E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742950" indent="-28575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600" dirty="0" smtClean="0">
                          <a:solidFill>
                            <a:srgbClr val="41AAAA"/>
                          </a:solidFill>
                          <a:sym typeface="Wingdings 3"/>
                        </a:rPr>
                        <a:t></a:t>
                      </a:r>
                      <a:endParaRPr kumimoji="0" lang="en-US" altLang="de-DE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41AAAA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742950" indent="-28575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altLang="de-DE" sz="1600" b="1" i="0" u="none" strike="noStrike" cap="none" baseline="0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Преимущества</a:t>
                      </a:r>
                      <a:endParaRPr lang="en-US" altLang="de-DE" sz="1600" b="1" i="0" u="none" strike="noStrike" cap="none" baseline="0" dirty="0">
                        <a:solidFill>
                          <a:srgbClr val="FFFFFF"/>
                        </a:solidFill>
                        <a:effectLst/>
                        <a:latin typeface="Arial"/>
                        <a:ea typeface="ＭＳ Ｐゴシック"/>
                        <a:cs typeface="Arial"/>
                      </a:endParaRPr>
                    </a:p>
                  </a:txBody>
                  <a:tcPr marL="108000" marR="108000" marT="54000" marB="5400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1AAAA"/>
                    </a:solidFill>
                  </a:tcPr>
                </a:tc>
              </a:tr>
              <a:tr h="4014951">
                <a:tc>
                  <a:txBody>
                    <a:bodyPr/>
                    <a:lstStyle>
                      <a:lvl1pPr marL="342900" indent="-3429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142875" indent="-142875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lvl="1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Tx/>
                        <a:buNone/>
                      </a:pPr>
                      <a:r>
                        <a:rPr lang="ru-RU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Надёжность и качество серво-моторов </a:t>
                      </a:r>
                      <a:r>
                        <a:rPr lang="en-US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SIMOTICS S-1FK7 </a:t>
                      </a:r>
                      <a:r>
                        <a:rPr lang="ru-RU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неоднократно проверены нашими клиентами</a:t>
                      </a:r>
                      <a:endParaRPr lang="en-US" altLang="de-DE" sz="1600" b="0" i="0" u="none" strike="noStrike" cap="none" baseline="0" dirty="0"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/>
                        <a:cs typeface="Arial"/>
                      </a:endParaRPr>
                    </a:p>
                  </a:txBody>
                  <a:tcPr marL="108000" marR="108000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342900" indent="-3429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0" marR="0" lvl="1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</a:pPr>
                      <a:endParaRPr kumimoji="0" lang="en-US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41AAAA"/>
                        </a:solidFill>
                        <a:effectLst/>
                        <a:latin typeface="Arial" charset="0"/>
                        <a:ea typeface="ＭＳ Ｐゴシック" pitchFamily="34" charset="-128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342900" indent="-3429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buFont typeface="Arial" charset="0"/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1pPr>
                      <a:lvl2pPr marL="142875" indent="-142875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2pPr>
                      <a:lvl3pPr marL="11430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3pPr>
                      <a:lvl4pPr marL="16002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4pPr>
                      <a:lvl5pPr marL="2057400" indent="-228600" eaLnBrk="0" hangingPunct="0">
                        <a:lnSpc>
                          <a:spcPct val="110000"/>
                        </a:lnSpc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5pPr>
                      <a:lvl6pPr marL="25146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6pPr>
                      <a:lvl7pPr marL="29718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7pPr>
                      <a:lvl8pPr marL="34290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8pPr>
                      <a:lvl9pPr marL="3886200" indent="-228600" eaLnBrk="0" fontAlgn="base" hangingPunct="0">
                        <a:lnSpc>
                          <a:spcPct val="11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defRPr sz="1600">
                          <a:solidFill>
                            <a:srgbClr val="000000"/>
                          </a:solidFill>
                          <a:latin typeface="Arial" charset="0"/>
                          <a:ea typeface="ＭＳ Ｐゴシック" pitchFamily="34" charset="-128"/>
                          <a:cs typeface="Arial" charset="0"/>
                        </a:defRPr>
                      </a:lvl9pPr>
                    </a:lstStyle>
                    <a:p>
                      <a:pPr marL="146304" marR="0" lvl="1" indent="-146304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Tx/>
                        <a:buChar char="•"/>
                      </a:pPr>
                      <a:r>
                        <a:rPr lang="ru-RU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Полностью совместимы с </a:t>
                      </a:r>
                      <a:r>
                        <a:rPr lang="en-US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SINAMICS S120 </a:t>
                      </a:r>
                      <a:r>
                        <a:rPr lang="ru-RU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и</a:t>
                      </a:r>
                      <a:r>
                        <a:rPr lang="en-US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 S110 </a:t>
                      </a:r>
                    </a:p>
                    <a:p>
                      <a:pPr marL="146304" marR="0" lvl="1" indent="-146304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Tx/>
                        <a:buChar char="•"/>
                      </a:pPr>
                      <a:r>
                        <a:rPr lang="ru-RU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Те же </a:t>
                      </a:r>
                      <a:r>
                        <a:rPr lang="ru-RU" altLang="de-DE" sz="1600" b="0" i="0" u="none" strike="noStrike" cap="none" baseline="0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энкодеры</a:t>
                      </a:r>
                      <a:r>
                        <a:rPr lang="en-US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, </a:t>
                      </a:r>
                      <a:r>
                        <a:rPr lang="ru-RU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включая</a:t>
                      </a:r>
                      <a:r>
                        <a:rPr lang="en-US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 DRIVE-</a:t>
                      </a:r>
                      <a:r>
                        <a:rPr lang="en-US" altLang="de-DE" sz="1600" b="0" i="0" u="none" strike="noStrike" cap="none" baseline="0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CLiQ</a:t>
                      </a:r>
                      <a:r>
                        <a:rPr lang="en-US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 </a:t>
                      </a:r>
                      <a:r>
                        <a:rPr lang="ru-RU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и электронные </a:t>
                      </a:r>
                      <a:r>
                        <a:rPr lang="ru-RU" altLang="de-DE" sz="1600" b="0" i="0" u="none" strike="noStrike" cap="none" baseline="0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шильдики</a:t>
                      </a:r>
                      <a:endParaRPr lang="en-US" altLang="de-DE" sz="1600" b="0" i="0" u="none" strike="noStrike" cap="none" baseline="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/>
                        <a:cs typeface="Arial"/>
                      </a:endParaRPr>
                    </a:p>
                    <a:p>
                      <a:pPr marL="146304" marR="0" lvl="1" indent="-146304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Tx/>
                        <a:buChar char="•"/>
                      </a:pPr>
                      <a:r>
                        <a:rPr lang="ru-RU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Та же система </a:t>
                      </a:r>
                      <a:r>
                        <a:rPr lang="en-US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MOTION-CONNECT</a:t>
                      </a:r>
                      <a:endParaRPr lang="ru-RU" altLang="de-DE" sz="1600" b="0" i="0" u="none" strike="noStrike" cap="none" baseline="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/>
                        <a:cs typeface="Arial"/>
                      </a:endParaRPr>
                    </a:p>
                    <a:p>
                      <a:pPr marL="146304" marR="0" lvl="1" indent="-146304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Tx/>
                        <a:buChar char="•"/>
                      </a:pPr>
                      <a:r>
                        <a:rPr lang="ru-RU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Те же инструменты</a:t>
                      </a:r>
                      <a:endParaRPr lang="en-US" altLang="de-DE" sz="1600" b="0" i="0" u="none" strike="noStrike" cap="none" baseline="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/>
                        <a:cs typeface="Arial"/>
                      </a:endParaRPr>
                    </a:p>
                    <a:p>
                      <a:pPr marL="411480" marR="0" lvl="1" indent="-283464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Courier New"/>
                        <a:buChar char="o"/>
                      </a:pPr>
                      <a:r>
                        <a:rPr lang="en-US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SIZER </a:t>
                      </a:r>
                      <a:endParaRPr lang="ru-RU" altLang="de-DE" sz="1600" b="0" i="0" u="none" strike="noStrike" cap="none" baseline="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/>
                        <a:cs typeface="Arial"/>
                      </a:endParaRPr>
                    </a:p>
                    <a:p>
                      <a:pPr marL="411480" marR="0" lvl="1" indent="-283464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Courier New"/>
                        <a:buChar char="o"/>
                      </a:pPr>
                      <a:r>
                        <a:rPr lang="en-US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DT Configurator </a:t>
                      </a:r>
                      <a:endParaRPr lang="ru-RU" altLang="de-DE" sz="1600" b="0" i="0" u="none" strike="noStrike" cap="none" baseline="0" dirty="0" smtClean="0"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/>
                        <a:cs typeface="Arial"/>
                      </a:endParaRPr>
                    </a:p>
                    <a:p>
                      <a:pPr marL="411480" marR="0" lvl="1" indent="-283464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000000"/>
                        </a:buClr>
                        <a:buFont typeface="Courier New"/>
                        <a:buChar char="o"/>
                      </a:pPr>
                      <a:r>
                        <a:rPr lang="en-US" altLang="de-DE" sz="1600" b="0" i="0" u="none" strike="noStrike" cap="non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ＭＳ Ｐゴシック"/>
                          <a:cs typeface="Arial"/>
                        </a:rPr>
                        <a:t>STARTER</a:t>
                      </a:r>
                      <a:endParaRPr lang="en-US" altLang="de-DE" sz="1600" b="0" i="0" u="none" strike="noStrike" cap="none" baseline="0" dirty="0">
                        <a:solidFill>
                          <a:srgbClr val="000000"/>
                        </a:solidFill>
                        <a:effectLst/>
                        <a:latin typeface="Arial"/>
                        <a:ea typeface="ＭＳ Ｐゴシック"/>
                        <a:cs typeface="Arial"/>
                      </a:endParaRPr>
                    </a:p>
                  </a:txBody>
                  <a:tcPr marL="108000" marR="108000" marT="54000" marB="5400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pic>
        <p:nvPicPr>
          <p:cNvPr id="19" name="Picture 8" descr="D:\05.0-1FG1\g1-Unterlagen\Bilder\04_PNGs\I_DT_Gruppe_SIMOTICS_Servogetriebemotoren_Style_01_sRGB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01" t="8852" r="9655" b="18174"/>
          <a:stretch/>
        </p:blipFill>
        <p:spPr bwMode="auto">
          <a:xfrm>
            <a:off x="627064" y="2524574"/>
            <a:ext cx="3599903" cy="2848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7955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nqszngIEiOtCYIiGARW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3u9GwXz0Knhhjfy9iIO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D_I1PWYUmqhW6DdMILw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2o.8fjwxE.bgM5iua5yW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6YNQKG.00WeiUkr_Nl89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LFb1CGBkuKEPEMp5U.x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LFb1CGBkuKEPEMp5U.x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LFb1CGBkuKEPEMp5U.x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LFb1CGBkuKEPEMp5U.x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LFb1CGBkuKEPEMp5U.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LFb1CGBkuKEPEMp5U.x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6YNQKG.00WeiUkr_Nl89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fxuSnc6UWwQkk5DSimM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FoQmbX0keE7AzghphnX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9hQ8KAVU20UdaIZOgIo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9b.QbpqEmV4Ndt58.uU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r9Zo7XQ02QrxCy1jFrr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r9Zo7XQ02QrxCy1jFrr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6YNQKG.00WeiUkr_Nl89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dkSiUDGUCOWwcCA3GBS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dkSiUDGUCOWwcCA3GBS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SLIDE_NAME_ENG" val="Contact slide"/>
  <p:tag name="CDT_SLIDE_NAME_FRE" val="Contact slide"/>
  <p:tag name="CDT_SLIDE_NAME_GER" val="Kontaktfolie"/>
  <p:tag name="CDT_SLIDE_NAME_SPA" val="Contact slide"/>
  <p:tag name="CDT_SLIDE_NAME_ITA" val="Contact slide"/>
  <p:tag name="CDT_DEFAULT_SLIDE" val="True"/>
  <p:tag name="CDT_INTERSECT_SLIDE" val="False"/>
  <p:tag name="CDT_NAVBARONTHISSLIDE" val="True"/>
  <p:tag name="CDT_DESIGNS_NAME" val="Siemens 2013 – 16:9"/>
  <p:tag name="CDT_MASTERS_NAME" val="Image + Index/Contact"/>
  <p:tag name="CDT_LAYOUT_TYPE" val="32"/>
  <p:tag name="CDT_ORIGINAL_DESIGNS_NAME" val="Siemens 2013 – 16:9"/>
  <p:tag name="CDT_ORIGINAL_MASTERS_NAME" val="Image + Index/Contact"/>
  <p:tag name="CDT_ORIGINAL_LAYOUT_TYPE" val="32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TARGETSHAPE_NEW" val="18"/>
  <p:tag name="CDT_PROT" val="3"/>
  <p:tag name="CDT_PROT_TOP" val="0"/>
  <p:tag name="CDT_PROT_LEFT" val="0"/>
  <p:tag name="CDT_PROT_WIDTH" val="960,5"/>
  <p:tag name="CDT_PROT_HEIGHT" val="99,87504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4"/>
  <p:tag name="CDT_DELETE_ONEVENT_NEWPRES" val="False"/>
  <p:tag name="CDT_TARGETSHAPE_NEW" val="12"/>
  <p:tag name="CDT_PROT" val="3"/>
  <p:tag name="CDT_PROT_TOP" val="111,25"/>
  <p:tag name="CDT_PROT_LEFT" val="366,8501"/>
  <p:tag name="CDT_PROT_WIDTH" val="593,6499"/>
  <p:tag name="CDT_PROT_HEIGHT" val="374,25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DELETE_ONEVENT_NEWPRES" val="False"/>
  <p:tag name="CDT_EXTCOL" val="True"/>
  <p:tag name="CDT_COLTX_NEW" val="25"/>
  <p:tag name="CDT_TARGETSHAPE_NEW" val="4"/>
  <p:tag name="CDT_PROT" val="3"/>
  <p:tag name="CDT_PROT_TOP" val="440,6257"/>
  <p:tag name="CDT_PROT_LEFT" val="366,5"/>
  <p:tag name="CDT_PROT_WIDTH" val="594"/>
  <p:tag name="CDT_PROT_HEIGHT" val="44,87433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10"/>
  <p:tag name="CDT_PROT" val="3"/>
  <p:tag name="CDT_PROT_TOP" val="485,5"/>
  <p:tag name="CDT_PROT_LEFT" val="960,5"/>
  <p:tag name="CDT_PROT_WIDTH" val="0,1250394"/>
  <p:tag name="CDT_PROT_HEIGHT" val="0,1667717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DELETE_ONEVENT_NEWPRES" val="False"/>
  <p:tag name="CDT_EXTCOL" val="True"/>
  <p:tag name="CDT_COLTX_NEW" val="25"/>
  <p:tag name="CDT_TARGETSHAPE_NEW" val="10"/>
  <p:tag name="CDT_PROT" val="3"/>
  <p:tag name="CDT_PROT_TOP" val="485,5"/>
  <p:tag name="CDT_PROT_LEFT" val="960,5"/>
  <p:tag name="CDT_PROT_WIDTH" val="0,1250394"/>
  <p:tag name="CDT_PROT_HEIGHT" val="0,125039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c9QQsG6UuMptI5UZYtR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6YNQKG.00WeiUkr_Nl89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NnUfZwnE2B8Su_pVvzHA"/>
</p:tagLst>
</file>

<file path=ppt/theme/theme1.xml><?xml version="1.0" encoding="utf-8"?>
<a:theme xmlns:a="http://schemas.openxmlformats.org/drawingml/2006/main" name="Siemens 2016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Free Content</Name>
  <PpLayout>11</PpLayout>
  <Index>9</Index>
</p4ppTags>
</file>

<file path=customXml/item10.xml><?xml version="1.0" encoding="utf-8"?>
<p4ppTags>
  <Name>One object (large)</Name>
  <PpLayout>16</PpLayout>
  <Index>10</Index>
</p4ppTags>
</file>

<file path=customXml/item11.xml><?xml version="1.0" encoding="utf-8"?>
<p4ppTags>
  <Name>Four objects + Navigation</Name>
  <PpLayout>32</PpLayout>
  <Index>22</Index>
</p4ppTags>
</file>

<file path=customXml/item12.xml><?xml version="1.0" encoding="utf-8"?>
<p4ppTags>
  <Name>Two rows + Navigation</Name>
  <PpLayout>32</PpLayout>
  <Index>21</Index>
</p4ppTags>
</file>

<file path=customXml/item13.xml><?xml version="1.0" encoding="utf-8"?>
<p4ppTags>
  <Name>Two rows</Name>
  <PpLayout>32</PpLayout>
  <Index>13</Index>
</p4ppTags>
</file>

<file path=customXml/item14.xml><?xml version="1.0" encoding="utf-8"?>
<p4ppTags>
  <Name>One object (large) + Navigation</Name>
  <PpLayout>32</PpLayout>
  <Index>17</Index>
</p4ppTags>
</file>

<file path=customXml/item15.xml><?xml version="1.0" encoding="utf-8"?>
<p4ppTags>
  <Name>Three columns</Name>
  <PpLayout>32</PpLayout>
  <Index>14</Index>
</p4ppTags>
</file>

<file path=customXml/item16.xml><?xml version="1.0" encoding="utf-8"?>
<p4ppTags>
  <Name>Four objects</Name>
  <PpLayout>24</PpLayout>
  <Index>15</Index>
</p4ppTags>
</file>

<file path=customXml/item17.xml><?xml version="1.0" encoding="utf-8"?>
<p4ppTags>
  <Name>One object (small)</Name>
  <PpLayout>16</PpLayout>
  <Index>11</Index>
</p4ppTags>
</file>

<file path=customXml/item18.xml><?xml version="1.0" encoding="utf-8"?>
<p4ppTags/>
</file>

<file path=customXml/item19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4B33428A1F13B48A80FA1CCD62E23C6" ma:contentTypeVersion="0" ma:contentTypeDescription="Create a new document." ma:contentTypeScope="" ma:versionID="cdb19a9241122a2a657451b4f27766e3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4ppTags>
  <Name>Three columns + Navigation</Name>
  <PpLayout>32</PpLayout>
  <Index>20</Index>
</p4ppTags>
</file>

<file path=customXml/item3.xml><?xml version="1.0" encoding="utf-8"?>
<p4ppTags>
  <Name>Two columns</Name>
  <PpLayout>29</PpLayout>
  <Index>12</Index>
</p4ppTags>
</file>

<file path=customXml/item4.xml><?xml version="1.0" encoding="utf-8"?>
<p4ppTags>
  <Name>Free Content + Navigation</Name>
  <PpLayout>32</PpLayout>
  <Index>16</Index>
</p4ppTags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.xml><?xml version="1.0" encoding="utf-8"?>
<p4ppTags>
  <Name>One object (small) + Navigation</Name>
  <PpLayout>32</PpLayout>
  <Index>18</Index>
</p4ppTags>
</file>

<file path=customXml/item7.xml><?xml version="1.0" encoding="utf-8"?>
<p4ppTags>
  <Name>Text + Index</Name>
  <PpLayout>32</PpLayout>
  <Index>8</Index>
</p4ppTags>
</file>

<file path=customXml/item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9.xml><?xml version="1.0" encoding="utf-8"?>
<p4ppTags>
  <Name>Two columns + Navigation</Name>
  <PpLayout>32</PpLayout>
  <Index>19</Index>
</p4ppTags>
</file>

<file path=customXml/itemProps1.xml><?xml version="1.0" encoding="utf-8"?>
<ds:datastoreItem xmlns:ds="http://schemas.openxmlformats.org/officeDocument/2006/customXml" ds:itemID="{D8097D0C-BE3E-4AEC-9593-65CFCCB19297}">
  <ds:schemaRefs/>
</ds:datastoreItem>
</file>

<file path=customXml/itemProps10.xml><?xml version="1.0" encoding="utf-8"?>
<ds:datastoreItem xmlns:ds="http://schemas.openxmlformats.org/officeDocument/2006/customXml" ds:itemID="{80661B8B-A327-44F9-823B-4D9EE0B3EC78}">
  <ds:schemaRefs/>
</ds:datastoreItem>
</file>

<file path=customXml/itemProps11.xml><?xml version="1.0" encoding="utf-8"?>
<ds:datastoreItem xmlns:ds="http://schemas.openxmlformats.org/officeDocument/2006/customXml" ds:itemID="{EAB520BC-C6EC-457E-8AB5-55DB67C86858}">
  <ds:schemaRefs/>
</ds:datastoreItem>
</file>

<file path=customXml/itemProps12.xml><?xml version="1.0" encoding="utf-8"?>
<ds:datastoreItem xmlns:ds="http://schemas.openxmlformats.org/officeDocument/2006/customXml" ds:itemID="{6C79E4F8-DCFB-483C-880A-AEEC6AAFC838}">
  <ds:schemaRefs/>
</ds:datastoreItem>
</file>

<file path=customXml/itemProps13.xml><?xml version="1.0" encoding="utf-8"?>
<ds:datastoreItem xmlns:ds="http://schemas.openxmlformats.org/officeDocument/2006/customXml" ds:itemID="{38AB8DE4-FD9B-4166-BEC3-3F1753596133}">
  <ds:schemaRefs/>
</ds:datastoreItem>
</file>

<file path=customXml/itemProps14.xml><?xml version="1.0" encoding="utf-8"?>
<ds:datastoreItem xmlns:ds="http://schemas.openxmlformats.org/officeDocument/2006/customXml" ds:itemID="{B27F640E-84DF-4F97-BC70-D045F1E6594F}">
  <ds:schemaRefs/>
</ds:datastoreItem>
</file>

<file path=customXml/itemProps15.xml><?xml version="1.0" encoding="utf-8"?>
<ds:datastoreItem xmlns:ds="http://schemas.openxmlformats.org/officeDocument/2006/customXml" ds:itemID="{15CF3461-70D1-4B54-AFAB-DAFDA0A238CD}">
  <ds:schemaRefs/>
</ds:datastoreItem>
</file>

<file path=customXml/itemProps16.xml><?xml version="1.0" encoding="utf-8"?>
<ds:datastoreItem xmlns:ds="http://schemas.openxmlformats.org/officeDocument/2006/customXml" ds:itemID="{1581BFFB-B4CE-47A8-BE77-DC1339B1E5A7}">
  <ds:schemaRefs/>
</ds:datastoreItem>
</file>

<file path=customXml/itemProps17.xml><?xml version="1.0" encoding="utf-8"?>
<ds:datastoreItem xmlns:ds="http://schemas.openxmlformats.org/officeDocument/2006/customXml" ds:itemID="{1618AA06-B22E-4D19-9680-0D7830426729}">
  <ds:schemaRefs/>
</ds:datastoreItem>
</file>

<file path=customXml/itemProps18.xml><?xml version="1.0" encoding="utf-8"?>
<ds:datastoreItem xmlns:ds="http://schemas.openxmlformats.org/officeDocument/2006/customXml" ds:itemID="{572FBA73-6DBF-45DA-8282-9342320CFAB0}">
  <ds:schemaRefs/>
</ds:datastoreItem>
</file>

<file path=customXml/itemProps19.xml><?xml version="1.0" encoding="utf-8"?>
<ds:datastoreItem xmlns:ds="http://schemas.openxmlformats.org/officeDocument/2006/customXml" ds:itemID="{3D0ED2DD-842F-4ED8-A722-E21F6EF5409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85D77EE6-52B7-48BE-9EDB-748F1EBB53DE}">
  <ds:schemaRefs/>
</ds:datastoreItem>
</file>

<file path=customXml/itemProps3.xml><?xml version="1.0" encoding="utf-8"?>
<ds:datastoreItem xmlns:ds="http://schemas.openxmlformats.org/officeDocument/2006/customXml" ds:itemID="{1666F4C2-68F5-4840-A44A-1A646C0925A1}">
  <ds:schemaRefs/>
</ds:datastoreItem>
</file>

<file path=customXml/itemProps4.xml><?xml version="1.0" encoding="utf-8"?>
<ds:datastoreItem xmlns:ds="http://schemas.openxmlformats.org/officeDocument/2006/customXml" ds:itemID="{7CC5F709-E74B-4E5F-A728-923D5062EBEF}">
  <ds:schemaRefs/>
</ds:datastoreItem>
</file>

<file path=customXml/itemProps5.xml><?xml version="1.0" encoding="utf-8"?>
<ds:datastoreItem xmlns:ds="http://schemas.openxmlformats.org/officeDocument/2006/customXml" ds:itemID="{16109F42-405F-4BC4-A555-8CB28712127C}">
  <ds:schemaRefs>
    <ds:schemaRef ds:uri="http://schemas.microsoft.com/sharepoint/v3/contenttype/forms"/>
  </ds:schemaRefs>
</ds:datastoreItem>
</file>

<file path=customXml/itemProps6.xml><?xml version="1.0" encoding="utf-8"?>
<ds:datastoreItem xmlns:ds="http://schemas.openxmlformats.org/officeDocument/2006/customXml" ds:itemID="{D9FE249F-833E-4CF0-BECB-552D01D7DC9E}">
  <ds:schemaRefs/>
</ds:datastoreItem>
</file>

<file path=customXml/itemProps7.xml><?xml version="1.0" encoding="utf-8"?>
<ds:datastoreItem xmlns:ds="http://schemas.openxmlformats.org/officeDocument/2006/customXml" ds:itemID="{7E35FEDB-1F0E-4D67-A313-4AC59C26FF29}">
  <ds:schemaRefs/>
</ds:datastoreItem>
</file>

<file path=customXml/itemProps8.xml><?xml version="1.0" encoding="utf-8"?>
<ds:datastoreItem xmlns:ds="http://schemas.openxmlformats.org/officeDocument/2006/customXml" ds:itemID="{F289EEE6-17A2-479E-9A0F-4F5B1C4D9F94}">
  <ds:schemaRefs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http://purl.org/dc/elements/1.1/"/>
    <ds:schemaRef ds:uri="http://purl.org/dc/terms/"/>
    <ds:schemaRef ds:uri="http://schemas.microsoft.com/office/2006/metadata/properties"/>
    <ds:schemaRef ds:uri="http://purl.org/dc/dcmitype/"/>
  </ds:schemaRefs>
</ds:datastoreItem>
</file>

<file path=customXml/itemProps9.xml><?xml version="1.0" encoding="utf-8"?>
<ds:datastoreItem xmlns:ds="http://schemas.openxmlformats.org/officeDocument/2006/customXml" ds:itemID="{D7BABA95-BFFE-422B-8591-3271669EEA88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M_PPT_2007_16x9_DEU_V2_0_0_BASIC.pptx</Template>
  <TotalTime>0</TotalTime>
  <Words>1048</Words>
  <Application>Microsoft Office PowerPoint</Application>
  <PresentationFormat>Custom</PresentationFormat>
  <Paragraphs>253</Paragraphs>
  <Slides>14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5" baseType="lpstr">
      <vt:lpstr>Siemens 2016 – 16:9</vt:lpstr>
      <vt:lpstr>SIMOTICS S-1FG1  Конкурентные преимущества</vt:lpstr>
      <vt:lpstr>Содержание</vt:lpstr>
      <vt:lpstr>Совместимость и бесшовная интеграция</vt:lpstr>
      <vt:lpstr>Позиционирование в портфолио SIMOTICS</vt:lpstr>
      <vt:lpstr>Позиционирование в портфолио мотор-редукторов</vt:lpstr>
      <vt:lpstr>Всё вращается вокруг высокой точности</vt:lpstr>
      <vt:lpstr>Сектора и применения, примеры</vt:lpstr>
      <vt:lpstr>Системные аспекты</vt:lpstr>
      <vt:lpstr>Простая интеграция</vt:lpstr>
      <vt:lpstr>Может быть легко адаптирован для обращения к приложению</vt:lpstr>
      <vt:lpstr>Особенности максимально эффективного строения</vt:lpstr>
      <vt:lpstr>Выдержка из технический данных для SIMOTICS S-1FG1</vt:lpstr>
      <vt:lpstr>Оптимальный привод в отношении конструкции типа и номинальной мощности для каждого применения</vt:lpstr>
      <vt:lpstr>Спасибо за внимание!</vt:lpstr>
    </vt:vector>
  </TitlesOfParts>
  <Company>SIEMENS AG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emens On-stage PowerPoint-Template</dc:title>
  <dc:creator>Анастасия Бычкова</dc:creator>
  <cp:lastModifiedBy>Nuzhdin Alexander</cp:lastModifiedBy>
  <cp:revision>17</cp:revision>
  <cp:lastPrinted>2012-10-29T09:59:01Z</cp:lastPrinted>
  <dcterms:created xsi:type="dcterms:W3CDTF">2006-04-07T10:01:45Z</dcterms:created>
  <dcterms:modified xsi:type="dcterms:W3CDTF">2017-11-08T06:56:12Z</dcterms:modified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February 2017</vt:lpwstr>
  </property>
  <property fmtid="{D5CDD505-2E9C-101B-9397-08002B2CF9AE}" pid="4" name="Office version">
    <vt:lpwstr>2007 and higher</vt:lpwstr>
  </property>
  <property fmtid="{D5CDD505-2E9C-101B-9397-08002B2CF9AE}" pid="5" name="Release version">
    <vt:lpwstr>1.1</vt:lpwstr>
  </property>
  <property fmtid="{D5CDD505-2E9C-101B-9397-08002B2CF9AE}" pid="6" name="ContentTypeId">
    <vt:lpwstr>0x010100E4B33428A1F13B48A80FA1CCD62E23C6</vt:lpwstr>
  </property>
  <property fmtid="{D5CDD505-2E9C-101B-9397-08002B2CF9AE}" pid="7" name="_AdHocReviewCycleID">
    <vt:i4>-594131146</vt:i4>
  </property>
  <property fmtid="{D5CDD505-2E9C-101B-9397-08002B2CF9AE}" pid="8" name="_NewReviewCycle">
    <vt:lpwstr/>
  </property>
  <property fmtid="{D5CDD505-2E9C-101B-9397-08002B2CF9AE}" pid="9" name="_EmailSubject">
    <vt:lpwstr>Новости приводной техники: "SIMOTICS S-1FG1. Кокурентные преимущества"</vt:lpwstr>
  </property>
  <property fmtid="{D5CDD505-2E9C-101B-9397-08002B2CF9AE}" pid="10" name="_AuthorEmail">
    <vt:lpwstr>alexander.nuzhdin@siemens.com</vt:lpwstr>
  </property>
  <property fmtid="{D5CDD505-2E9C-101B-9397-08002B2CF9AE}" pid="11" name="_AuthorEmailDisplayName">
    <vt:lpwstr>Nuzhdin, Alexander</vt:lpwstr>
  </property>
</Properties>
</file>